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3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1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2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13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4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21"/>
  </p:notesMasterIdLst>
  <p:handoutMasterIdLst>
    <p:handoutMasterId r:id="rId22"/>
  </p:handoutMasterIdLst>
  <p:sldIdLst>
    <p:sldId id="3004" r:id="rId5"/>
    <p:sldId id="3039" r:id="rId6"/>
    <p:sldId id="3009" r:id="rId7"/>
    <p:sldId id="3015" r:id="rId8"/>
    <p:sldId id="3224" r:id="rId9"/>
    <p:sldId id="3226" r:id="rId10"/>
    <p:sldId id="3227" r:id="rId11"/>
    <p:sldId id="3223" r:id="rId12"/>
    <p:sldId id="3222" r:id="rId13"/>
    <p:sldId id="3220" r:id="rId14"/>
    <p:sldId id="3221" r:id="rId15"/>
    <p:sldId id="3228" r:id="rId16"/>
    <p:sldId id="3230" r:id="rId17"/>
    <p:sldId id="3037" r:id="rId18"/>
    <p:sldId id="3231" r:id="rId19"/>
    <p:sldId id="3229" r:id="rId20"/>
  </p:sldIdLst>
  <p:sldSz cx="12192000" cy="6858000"/>
  <p:notesSz cx="7104063" cy="10234613"/>
  <p:custDataLst>
    <p:tags r:id="rId23"/>
  </p:custDataLst>
  <p:defaultTextStyle>
    <a:defPPr>
      <a:defRPr lang="de-DE"/>
    </a:defPPr>
    <a:lvl1pPr marL="0" algn="l" defTabSz="914400" rtl="0" eaLnBrk="1" latinLnBrk="0" hangingPunct="1">
      <a:lnSpc>
        <a:spcPct val="110000"/>
      </a:lnSpc>
      <a:spcBef>
        <a:spcPts val="0"/>
      </a:spcBef>
      <a:spcAft>
        <a:spcPts val="600"/>
      </a:spcAft>
      <a:defRPr sz="1800" b="1" kern="1200">
        <a:solidFill>
          <a:schemeClr val="tx1"/>
        </a:solidFill>
        <a:latin typeface="+mn-lt"/>
        <a:ea typeface="+mn-ea"/>
        <a:cs typeface="+mn-cs"/>
      </a:defRPr>
    </a:lvl1pPr>
    <a:lvl2pPr marL="0" algn="l" defTabSz="914400" rtl="0" eaLnBrk="1" latinLnBrk="0" hangingPunct="1">
      <a:lnSpc>
        <a:spcPct val="110000"/>
      </a:lnSpc>
      <a:spcBef>
        <a:spcPts val="0"/>
      </a:spcBef>
      <a:spcAft>
        <a:spcPts val="600"/>
      </a:spcAft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200000" indent="-200000" algn="l" rtl="0" latinLnBrk="0" hangingPunct="1">
      <a:lnSpc>
        <a:spcPct val="110000"/>
      </a:lnSpc>
      <a:spcBef>
        <a:spcPts val="0"/>
      </a:spcBef>
      <a:spcAft>
        <a:spcPts val="600"/>
      </a:spcAft>
      <a:buSzPct val="100000"/>
      <a:buChar char="•"/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400000" indent="-200000" algn="l" rtl="0" latinLnBrk="0" hangingPunct="1">
      <a:lnSpc>
        <a:spcPct val="110000"/>
      </a:lnSpc>
      <a:spcBef>
        <a:spcPts val="0"/>
      </a:spcBef>
      <a:spcAft>
        <a:spcPts val="600"/>
      </a:spcAft>
      <a:buSzPct val="100000"/>
      <a:buChar char="−"/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600000" indent="-200000" algn="l" rtl="0" latinLnBrk="0" hangingPunct="1">
      <a:lnSpc>
        <a:spcPct val="110000"/>
      </a:lnSpc>
      <a:spcBef>
        <a:spcPts val="0"/>
      </a:spcBef>
      <a:spcAft>
        <a:spcPts val="600"/>
      </a:spcAft>
      <a:buSzPct val="100000"/>
      <a:buChar char="−"/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800000" indent="-200000" algn="l" rtl="0" latinLnBrk="0" hangingPunct="1">
      <a:lnSpc>
        <a:spcPct val="110000"/>
      </a:lnSpc>
      <a:spcBef>
        <a:spcPts val="0"/>
      </a:spcBef>
      <a:spcAft>
        <a:spcPts val="600"/>
      </a:spcAft>
      <a:buSzPct val="100000"/>
      <a:buChar char="−"/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800000" indent="-200000" algn="l" rtl="0" latinLnBrk="0" hangingPunct="1">
      <a:lnSpc>
        <a:spcPct val="110000"/>
      </a:lnSpc>
      <a:spcBef>
        <a:spcPts val="0"/>
      </a:spcBef>
      <a:spcAft>
        <a:spcPts val="600"/>
      </a:spcAft>
      <a:buSzPct val="100000"/>
      <a:buChar char="−"/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800000" indent="-200000" algn="l" rtl="0" latinLnBrk="0" hangingPunct="1">
      <a:lnSpc>
        <a:spcPct val="110000"/>
      </a:lnSpc>
      <a:spcBef>
        <a:spcPts val="0"/>
      </a:spcBef>
      <a:spcAft>
        <a:spcPts val="600"/>
      </a:spcAft>
      <a:buSzPct val="100000"/>
      <a:buChar char="−"/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800000" indent="-200000" algn="l" rtl="0" latinLnBrk="0" hangingPunct="1">
      <a:lnSpc>
        <a:spcPct val="110000"/>
      </a:lnSpc>
      <a:spcBef>
        <a:spcPts val="0"/>
      </a:spcBef>
      <a:spcAft>
        <a:spcPts val="600"/>
      </a:spcAft>
      <a:buSzPct val="100000"/>
      <a:buChar char="−"/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dice dei contenuti" id="{966AA8FA-B062-4D37-9E5A-D99073D29DF5}">
          <p14:sldIdLst>
            <p14:sldId id="3004"/>
            <p14:sldId id="3039"/>
            <p14:sldId id="3009"/>
            <p14:sldId id="3015"/>
            <p14:sldId id="3224"/>
            <p14:sldId id="3226"/>
            <p14:sldId id="3227"/>
            <p14:sldId id="3223"/>
            <p14:sldId id="3222"/>
            <p14:sldId id="3220"/>
            <p14:sldId id="3221"/>
            <p14:sldId id="3228"/>
            <p14:sldId id="3230"/>
            <p14:sldId id="3037"/>
            <p14:sldId id="3231"/>
            <p14:sldId id="3229"/>
          </p14:sldIdLst>
        </p14:section>
      </p14:sectionLst>
    </p:ext>
    <p:ext uri="{EFAFB233-063F-42B5-8137-9DF3F51BA10A}">
      <p15:sldGuideLst xmlns:p15="http://schemas.microsoft.com/office/powerpoint/2012/main">
        <p15:guide id="3" pos="1844" userDrawn="1">
          <p15:clr>
            <a:srgbClr val="A4A3A4"/>
          </p15:clr>
        </p15:guide>
        <p15:guide id="4" pos="2116" userDrawn="1">
          <p15:clr>
            <a:srgbClr val="A4A3A4"/>
          </p15:clr>
        </p15:guide>
        <p15:guide id="6" pos="2706" userDrawn="1">
          <p15:clr>
            <a:srgbClr val="A4A3A4"/>
          </p15:clr>
        </p15:guide>
        <p15:guide id="7" pos="3704" userDrawn="1">
          <p15:clr>
            <a:srgbClr val="A4A3A4"/>
          </p15:clr>
        </p15:guide>
        <p15:guide id="8" pos="3976" userDrawn="1">
          <p15:clr>
            <a:srgbClr val="A4A3A4"/>
          </p15:clr>
        </p15:guide>
        <p15:guide id="10" pos="5155" userDrawn="1">
          <p15:clr>
            <a:srgbClr val="A4A3A4"/>
          </p15:clr>
        </p15:guide>
        <p15:guide id="11" pos="5564" userDrawn="1">
          <p15:clr>
            <a:srgbClr val="A4A3A4"/>
          </p15:clr>
        </p15:guide>
        <p15:guide id="12" pos="5836" userDrawn="1">
          <p15:clr>
            <a:srgbClr val="A4A3A4"/>
          </p15:clr>
        </p15:guide>
        <p15:guide id="13" orient="horz" pos="709" userDrawn="1">
          <p15:clr>
            <a:srgbClr val="A4A3A4"/>
          </p15:clr>
        </p15:guide>
        <p15:guide id="17" pos="4974" userDrawn="1">
          <p15:clr>
            <a:srgbClr val="A4A3A4"/>
          </p15:clr>
        </p15:guide>
        <p15:guide id="19" pos="2525" userDrawn="1">
          <p15:clr>
            <a:srgbClr val="A4A3A4"/>
          </p15:clr>
        </p15:guide>
        <p15:guide id="2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ura Haink" initials="LH" lastIdx="20" clrIdx="0"/>
  <p:cmAuthor id="2" name="Timo Glosemeyer" initials="TG" lastIdx="37" clrIdx="1"/>
  <p:cmAuthor id="3" name="Anna Juettner" initials="AJ" lastIdx="2" clrIdx="2"/>
  <p:cmAuthor id="4" name="Cem Kadim" initials="CK" lastIdx="4" clrIdx="3">
    <p:extLst>
      <p:ext uri="{19B8F6BF-5375-455C-9EA6-DF929625EA0E}">
        <p15:presenceInfo xmlns:p15="http://schemas.microsoft.com/office/powerpoint/2012/main" userId="S-1-5-21-2900290652-3162160026-1438150922-1732" providerId="AD"/>
      </p:ext>
    </p:extLst>
  </p:cmAuthor>
  <p:cmAuthor id="5" name="COLCA, GIOVANNI" initials="CG" lastIdx="1" clrIdx="4">
    <p:extLst>
      <p:ext uri="{19B8F6BF-5375-455C-9EA6-DF929625EA0E}">
        <p15:presenceInfo xmlns:p15="http://schemas.microsoft.com/office/powerpoint/2012/main" userId="S-1-5-21-1343024091-287218729-839522115-201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7C7BE"/>
    <a:srgbClr val="C6C6BD"/>
    <a:srgbClr val="5383A8"/>
    <a:srgbClr val="FFFFFF"/>
    <a:srgbClr val="407C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BBC1A34-13A9-4DB4-A9A0-74582BA47EF5}">
  <a:tblStyle styleId="{2BBC1A34-13A9-4DB4-A9A0-74582BA47EF5}" styleName="LIDL Tabe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mpd="sng">
              <a:solidFill>
                <a:schemeClr val="tx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ajor">
          <a:prstClr val="black"/>
        </a:fontRef>
        <a:schemeClr val="tx1"/>
      </a:tcTxStyle>
      <a:tcStyle>
        <a:tcBdr/>
        <a:fill>
          <a:noFill/>
        </a:fill>
      </a:tcStyle>
    </a:lastCol>
    <a:firstCol>
      <a:tcTxStyle b="on">
        <a:fontRef idx="major">
          <a:prstClr val="black"/>
        </a:fontRef>
        <a:schemeClr val="tx1"/>
      </a:tcTxStyle>
      <a:tcStyle>
        <a:tcBdr/>
        <a:fill>
          <a:noFill/>
        </a:fill>
      </a:tcStyle>
    </a:firstCol>
    <a:lastRow>
      <a:tcTxStyle b="on">
        <a:fontRef idx="major">
          <a:prstClr val="black"/>
        </a:fontRef>
        <a:schemeClr val="tx1"/>
      </a:tcTxStyle>
      <a:tcStyle>
        <a:tcBdr>
          <a:top>
            <a:ln w="14050" cmpd="sng">
              <a:solidFill>
                <a:schemeClr val="tx1"/>
              </a:solidFill>
            </a:ln>
          </a:top>
          <a:bottom>
            <a:ln w="0" cmpd="sng">
              <a:solidFill>
                <a:schemeClr val="tx1"/>
              </a:solidFill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tx1"/>
      </a:tcTxStyle>
      <a:tcStyle>
        <a:tcBdr>
          <a:bottom>
            <a:ln w="1405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653" autoAdjust="0"/>
    <p:restoredTop sz="82844" autoAdjust="0"/>
  </p:normalViewPr>
  <p:slideViewPr>
    <p:cSldViewPr snapToGrid="0">
      <p:cViewPr varScale="1">
        <p:scale>
          <a:sx n="88" d="100"/>
          <a:sy n="88" d="100"/>
        </p:scale>
        <p:origin x="780" y="96"/>
      </p:cViewPr>
      <p:guideLst>
        <p:guide pos="1844"/>
        <p:guide pos="2116"/>
        <p:guide pos="2706"/>
        <p:guide pos="3704"/>
        <p:guide pos="3976"/>
        <p:guide pos="5155"/>
        <p:guide pos="5564"/>
        <p:guide pos="5836"/>
        <p:guide orient="horz" pos="709"/>
        <p:guide pos="4974"/>
        <p:guide pos="2525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4" d="100"/>
          <a:sy n="54" d="100"/>
        </p:scale>
        <p:origin x="3293" y="8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fano Anceschi" userId="4675229c-0330-4236-b2ff-24443fcc4ce7" providerId="ADAL" clId="{9093AF84-4A51-4B71-899B-8525490AA160}"/>
    <pc:docChg chg="custSel addSld modSld sldOrd modSection">
      <pc:chgData name="Stefano Anceschi" userId="4675229c-0330-4236-b2ff-24443fcc4ce7" providerId="ADAL" clId="{9093AF84-4A51-4B71-899B-8525490AA160}" dt="2024-02-21T16:28:30.632" v="8" actId="14100"/>
      <pc:docMkLst>
        <pc:docMk/>
      </pc:docMkLst>
      <pc:sldChg chg="addSp delSp modSp add mod ord">
        <pc:chgData name="Stefano Anceschi" userId="4675229c-0330-4236-b2ff-24443fcc4ce7" providerId="ADAL" clId="{9093AF84-4A51-4B71-899B-8525490AA160}" dt="2024-02-21T16:28:30.632" v="8" actId="14100"/>
        <pc:sldMkLst>
          <pc:docMk/>
          <pc:sldMk cId="844477666" sldId="3231"/>
        </pc:sldMkLst>
        <pc:spChg chg="del">
          <ac:chgData name="Stefano Anceschi" userId="4675229c-0330-4236-b2ff-24443fcc4ce7" providerId="ADAL" clId="{9093AF84-4A51-4B71-899B-8525490AA160}" dt="2024-02-21T16:28:17.841" v="3" actId="478"/>
          <ac:spMkLst>
            <pc:docMk/>
            <pc:sldMk cId="844477666" sldId="3231"/>
            <ac:spMk id="2" creationId="{5DC47C48-E182-F102-AAF1-82ADF1DDC66F}"/>
          </ac:spMkLst>
        </pc:spChg>
        <pc:spChg chg="del">
          <ac:chgData name="Stefano Anceschi" userId="4675229c-0330-4236-b2ff-24443fcc4ce7" providerId="ADAL" clId="{9093AF84-4A51-4B71-899B-8525490AA160}" dt="2024-02-21T16:28:17.841" v="3" actId="478"/>
          <ac:spMkLst>
            <pc:docMk/>
            <pc:sldMk cId="844477666" sldId="3231"/>
            <ac:spMk id="3" creationId="{CF0F2F4D-D1D9-ACDF-2CC0-AA6AF1E4B531}"/>
          </ac:spMkLst>
        </pc:spChg>
        <pc:spChg chg="del">
          <ac:chgData name="Stefano Anceschi" userId="4675229c-0330-4236-b2ff-24443fcc4ce7" providerId="ADAL" clId="{9093AF84-4A51-4B71-899B-8525490AA160}" dt="2024-02-21T16:28:17.841" v="3" actId="478"/>
          <ac:spMkLst>
            <pc:docMk/>
            <pc:sldMk cId="844477666" sldId="3231"/>
            <ac:spMk id="4" creationId="{AC910CA8-02A9-CEA5-3A7B-56990E83FA46}"/>
          </ac:spMkLst>
        </pc:spChg>
        <pc:spChg chg="del">
          <ac:chgData name="Stefano Anceschi" userId="4675229c-0330-4236-b2ff-24443fcc4ce7" providerId="ADAL" clId="{9093AF84-4A51-4B71-899B-8525490AA160}" dt="2024-02-21T16:28:17.841" v="3" actId="478"/>
          <ac:spMkLst>
            <pc:docMk/>
            <pc:sldMk cId="844477666" sldId="3231"/>
            <ac:spMk id="5" creationId="{F0C1DEDE-6342-7CF4-1E50-C43307903F2C}"/>
          </ac:spMkLst>
        </pc:spChg>
        <pc:spChg chg="add del mod">
          <ac:chgData name="Stefano Anceschi" userId="4675229c-0330-4236-b2ff-24443fcc4ce7" providerId="ADAL" clId="{9093AF84-4A51-4B71-899B-8525490AA160}" dt="2024-02-21T16:28:20.454" v="5" actId="478"/>
          <ac:spMkLst>
            <pc:docMk/>
            <pc:sldMk cId="844477666" sldId="3231"/>
            <ac:spMk id="7" creationId="{9FA6362F-5EAB-7133-F172-C96DEDDAB873}"/>
          </ac:spMkLst>
        </pc:spChg>
        <pc:spChg chg="del">
          <ac:chgData name="Stefano Anceschi" userId="4675229c-0330-4236-b2ff-24443fcc4ce7" providerId="ADAL" clId="{9093AF84-4A51-4B71-899B-8525490AA160}" dt="2024-02-21T16:28:17.841" v="3" actId="478"/>
          <ac:spMkLst>
            <pc:docMk/>
            <pc:sldMk cId="844477666" sldId="3231"/>
            <ac:spMk id="19" creationId="{8189AC8A-373F-A13D-7ADA-49A4D484B03E}"/>
          </ac:spMkLst>
        </pc:spChg>
        <pc:spChg chg="del">
          <ac:chgData name="Stefano Anceschi" userId="4675229c-0330-4236-b2ff-24443fcc4ce7" providerId="ADAL" clId="{9093AF84-4A51-4B71-899B-8525490AA160}" dt="2024-02-21T16:28:17.841" v="3" actId="478"/>
          <ac:spMkLst>
            <pc:docMk/>
            <pc:sldMk cId="844477666" sldId="3231"/>
            <ac:spMk id="20" creationId="{96C0CEC3-4315-C8D9-58FD-8EF17F6623D4}"/>
          </ac:spMkLst>
        </pc:spChg>
        <pc:spChg chg="del">
          <ac:chgData name="Stefano Anceschi" userId="4675229c-0330-4236-b2ff-24443fcc4ce7" providerId="ADAL" clId="{9093AF84-4A51-4B71-899B-8525490AA160}" dt="2024-02-21T16:28:17.841" v="3" actId="478"/>
          <ac:spMkLst>
            <pc:docMk/>
            <pc:sldMk cId="844477666" sldId="3231"/>
            <ac:spMk id="30" creationId="{01E60A75-657F-5FBD-FA9A-2F41CA542C82}"/>
          </ac:spMkLst>
        </pc:spChg>
        <pc:graphicFrameChg chg="del">
          <ac:chgData name="Stefano Anceschi" userId="4675229c-0330-4236-b2ff-24443fcc4ce7" providerId="ADAL" clId="{9093AF84-4A51-4B71-899B-8525490AA160}" dt="2024-02-21T16:28:17.841" v="3" actId="478"/>
          <ac:graphicFrameMkLst>
            <pc:docMk/>
            <pc:sldMk cId="844477666" sldId="3231"/>
            <ac:graphicFrameMk id="12" creationId="{EBB15F8A-AAE2-C524-0D0F-4DF80CF9FB42}"/>
          </ac:graphicFrameMkLst>
        </pc:graphicFrameChg>
        <pc:picChg chg="add mod">
          <ac:chgData name="Stefano Anceschi" userId="4675229c-0330-4236-b2ff-24443fcc4ce7" providerId="ADAL" clId="{9093AF84-4A51-4B71-899B-8525490AA160}" dt="2024-02-21T16:28:30.632" v="8" actId="14100"/>
          <ac:picMkLst>
            <pc:docMk/>
            <pc:sldMk cId="844477666" sldId="3231"/>
            <ac:picMk id="9" creationId="{368386EB-1F92-1021-BB83-7887845E0554}"/>
          </ac:picMkLst>
        </pc:picChg>
        <pc:picChg chg="del">
          <ac:chgData name="Stefano Anceschi" userId="4675229c-0330-4236-b2ff-24443fcc4ce7" providerId="ADAL" clId="{9093AF84-4A51-4B71-899B-8525490AA160}" dt="2024-02-21T16:28:17.841" v="3" actId="478"/>
          <ac:picMkLst>
            <pc:docMk/>
            <pc:sldMk cId="844477666" sldId="3231"/>
            <ac:picMk id="14" creationId="{764AD6C8-0E40-787A-1FA8-1B12CC03FA03}"/>
          </ac:picMkLst>
        </pc:picChg>
        <pc:picChg chg="del">
          <ac:chgData name="Stefano Anceschi" userId="4675229c-0330-4236-b2ff-24443fcc4ce7" providerId="ADAL" clId="{9093AF84-4A51-4B71-899B-8525490AA160}" dt="2024-02-21T16:28:18.664" v="4" actId="478"/>
          <ac:picMkLst>
            <pc:docMk/>
            <pc:sldMk cId="844477666" sldId="3231"/>
            <ac:picMk id="15" creationId="{70B0D5BA-DDB1-4C0C-12A1-A03C60D431D3}"/>
          </ac:picMkLst>
        </pc:picChg>
        <pc:picChg chg="del">
          <ac:chgData name="Stefano Anceschi" userId="4675229c-0330-4236-b2ff-24443fcc4ce7" providerId="ADAL" clId="{9093AF84-4A51-4B71-899B-8525490AA160}" dt="2024-02-21T16:28:17.841" v="3" actId="478"/>
          <ac:picMkLst>
            <pc:docMk/>
            <pc:sldMk cId="844477666" sldId="3231"/>
            <ac:picMk id="17" creationId="{FA907466-53E4-C980-899D-318EC83A9C86}"/>
          </ac:picMkLst>
        </pc:picChg>
        <pc:picChg chg="del">
          <ac:chgData name="Stefano Anceschi" userId="4675229c-0330-4236-b2ff-24443fcc4ce7" providerId="ADAL" clId="{9093AF84-4A51-4B71-899B-8525490AA160}" dt="2024-02-21T16:28:17.841" v="3" actId="478"/>
          <ac:picMkLst>
            <pc:docMk/>
            <pc:sldMk cId="844477666" sldId="3231"/>
            <ac:picMk id="22" creationId="{E576C1DE-1521-FD9F-E33D-2AE1AFAF6479}"/>
          </ac:picMkLst>
        </pc:picChg>
      </pc:sldChg>
    </pc:docChg>
  </pc:docChgLst>
</pc:chgInfo>
</file>

<file path=ppt/diagrams/_rels/data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svg"/><Relationship Id="rId1" Type="http://schemas.openxmlformats.org/officeDocument/2006/relationships/image" Target="../media/image50.png"/><Relationship Id="rId6" Type="http://schemas.openxmlformats.org/officeDocument/2006/relationships/image" Target="../media/image55.svg"/><Relationship Id="rId5" Type="http://schemas.openxmlformats.org/officeDocument/2006/relationships/image" Target="../media/image54.png"/><Relationship Id="rId4" Type="http://schemas.openxmlformats.org/officeDocument/2006/relationships/image" Target="../media/image53.svg"/></Relationships>
</file>

<file path=ppt/diagrams/_rels/drawing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svg"/><Relationship Id="rId1" Type="http://schemas.openxmlformats.org/officeDocument/2006/relationships/image" Target="../media/image50.png"/><Relationship Id="rId6" Type="http://schemas.openxmlformats.org/officeDocument/2006/relationships/image" Target="../media/image55.svg"/><Relationship Id="rId5" Type="http://schemas.openxmlformats.org/officeDocument/2006/relationships/image" Target="../media/image54.png"/><Relationship Id="rId4" Type="http://schemas.openxmlformats.org/officeDocument/2006/relationships/image" Target="../media/image53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64C11FF-FD9D-4212-BB73-B5579B32FE9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C944A454-24BC-4163-9654-0DEEB2FC401E}">
      <dgm:prSet phldrT="[Testo]"/>
      <dgm:spPr>
        <a:solidFill>
          <a:schemeClr val="tx1"/>
        </a:solidFill>
      </dgm:spPr>
      <dgm:t>
        <a:bodyPr/>
        <a:lstStyle/>
        <a:p>
          <a:r>
            <a:rPr lang="it-IT" dirty="0"/>
            <a:t>1. Risparmiare </a:t>
          </a:r>
        </a:p>
      </dgm:t>
    </dgm:pt>
    <dgm:pt modelId="{3AC801C3-5D0A-40CB-B2E5-A227D204E5F0}" type="parTrans" cxnId="{7D587E34-B64F-4877-8774-51FFC748B064}">
      <dgm:prSet/>
      <dgm:spPr/>
      <dgm:t>
        <a:bodyPr/>
        <a:lstStyle/>
        <a:p>
          <a:endParaRPr lang="it-IT"/>
        </a:p>
      </dgm:t>
    </dgm:pt>
    <dgm:pt modelId="{7BA15534-1020-4482-BA53-4341E20AD7F0}" type="sibTrans" cxnId="{7D587E34-B64F-4877-8774-51FFC748B064}">
      <dgm:prSet/>
      <dgm:spPr/>
      <dgm:t>
        <a:bodyPr/>
        <a:lstStyle/>
        <a:p>
          <a:endParaRPr lang="it-IT"/>
        </a:p>
      </dgm:t>
    </dgm:pt>
    <dgm:pt modelId="{1E7F2958-30AD-4EE3-BB2D-C81ADF0BBBBB}">
      <dgm:prSet phldrT="[Testo]"/>
      <dgm:spPr/>
      <dgm:t>
        <a:bodyPr/>
        <a:lstStyle/>
        <a:p>
          <a:r>
            <a:rPr lang="it-IT" b="1" dirty="0"/>
            <a:t>Sfrutta le convenzioni </a:t>
          </a:r>
          <a:r>
            <a:rPr lang="it-IT" dirty="0"/>
            <a:t>del network</a:t>
          </a:r>
        </a:p>
      </dgm:t>
    </dgm:pt>
    <dgm:pt modelId="{D4DD7E99-232D-4444-A3E3-276F6CD6220A}" type="parTrans" cxnId="{B2916D1A-C4A6-4494-997B-7AD56B10FCA9}">
      <dgm:prSet/>
      <dgm:spPr/>
      <dgm:t>
        <a:bodyPr/>
        <a:lstStyle/>
        <a:p>
          <a:endParaRPr lang="it-IT"/>
        </a:p>
      </dgm:t>
    </dgm:pt>
    <dgm:pt modelId="{8D640941-3BB3-44BC-8D68-58B0E040BA0B}" type="sibTrans" cxnId="{B2916D1A-C4A6-4494-997B-7AD56B10FCA9}">
      <dgm:prSet/>
      <dgm:spPr/>
      <dgm:t>
        <a:bodyPr/>
        <a:lstStyle/>
        <a:p>
          <a:endParaRPr lang="it-IT"/>
        </a:p>
      </dgm:t>
    </dgm:pt>
    <dgm:pt modelId="{BCDD8564-E13C-47DF-BEA3-C972D237080C}">
      <dgm:prSet phldrT="[Testo]"/>
      <dgm:spPr>
        <a:solidFill>
          <a:schemeClr val="tx1"/>
        </a:solidFill>
      </dgm:spPr>
      <dgm:t>
        <a:bodyPr/>
        <a:lstStyle/>
        <a:p>
          <a:r>
            <a:rPr lang="it-IT" dirty="0"/>
            <a:t>2. Crescere</a:t>
          </a:r>
        </a:p>
      </dgm:t>
    </dgm:pt>
    <dgm:pt modelId="{94E2BB1D-175F-4C71-9824-63919361BAFB}" type="parTrans" cxnId="{E90435A1-7442-40EA-AB09-26A91A3CF5F7}">
      <dgm:prSet/>
      <dgm:spPr/>
      <dgm:t>
        <a:bodyPr/>
        <a:lstStyle/>
        <a:p>
          <a:endParaRPr lang="it-IT"/>
        </a:p>
      </dgm:t>
    </dgm:pt>
    <dgm:pt modelId="{562AF66D-408F-4272-AA6C-279C23FC0A45}" type="sibTrans" cxnId="{E90435A1-7442-40EA-AB09-26A91A3CF5F7}">
      <dgm:prSet/>
      <dgm:spPr/>
      <dgm:t>
        <a:bodyPr/>
        <a:lstStyle/>
        <a:p>
          <a:endParaRPr lang="it-IT"/>
        </a:p>
      </dgm:t>
    </dgm:pt>
    <dgm:pt modelId="{B335BC4B-7952-4B9F-ADBA-DF66A83558D2}">
      <dgm:prSet phldrT="[Testo]"/>
      <dgm:spPr/>
      <dgm:t>
        <a:bodyPr/>
        <a:lstStyle/>
        <a:p>
          <a:r>
            <a:rPr lang="it-IT" b="0" dirty="0"/>
            <a:t>Svolgi</a:t>
          </a:r>
          <a:r>
            <a:rPr lang="it-IT" b="1" dirty="0"/>
            <a:t> formazione gratuita</a:t>
          </a:r>
          <a:endParaRPr lang="it-IT" dirty="0"/>
        </a:p>
      </dgm:t>
    </dgm:pt>
    <dgm:pt modelId="{B4100FD8-51D5-4FB9-9945-DC3CED0B59C4}" type="parTrans" cxnId="{3CCFC167-B845-4010-A5E5-4458C5DF5884}">
      <dgm:prSet/>
      <dgm:spPr/>
      <dgm:t>
        <a:bodyPr/>
        <a:lstStyle/>
        <a:p>
          <a:endParaRPr lang="it-IT"/>
        </a:p>
      </dgm:t>
    </dgm:pt>
    <dgm:pt modelId="{62ECBA6F-DC0E-44BB-9F91-9B4250FC6CC7}" type="sibTrans" cxnId="{3CCFC167-B845-4010-A5E5-4458C5DF5884}">
      <dgm:prSet/>
      <dgm:spPr/>
      <dgm:t>
        <a:bodyPr/>
        <a:lstStyle/>
        <a:p>
          <a:endParaRPr lang="it-IT"/>
        </a:p>
      </dgm:t>
    </dgm:pt>
    <dgm:pt modelId="{8CE255E6-648B-4E39-8946-708F6902E30E}">
      <dgm:prSet phldrT="[Testo]" custT="1"/>
      <dgm:spPr>
        <a:solidFill>
          <a:srgbClr val="0050AA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148590" tIns="148590" rIns="148590" bIns="148590" numCol="1" spcCol="1270" anchor="ctr" anchorCtr="0"/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>
              <a:solidFill>
                <a:prstClr val="white"/>
              </a:solidFill>
              <a:latin typeface="Lidl Font Pro"/>
              <a:ea typeface="+mn-ea"/>
              <a:cs typeface="+mn-cs"/>
            </a:rPr>
            <a:t>3. Conoscere</a:t>
          </a:r>
        </a:p>
      </dgm:t>
    </dgm:pt>
    <dgm:pt modelId="{537EA732-56F9-4DFD-851C-16BA8ADD9935}" type="parTrans" cxnId="{12EF46EA-A08C-4931-AEF7-FF725F430B0D}">
      <dgm:prSet/>
      <dgm:spPr/>
      <dgm:t>
        <a:bodyPr/>
        <a:lstStyle/>
        <a:p>
          <a:endParaRPr lang="it-IT"/>
        </a:p>
      </dgm:t>
    </dgm:pt>
    <dgm:pt modelId="{9FCEF48D-21B6-4276-ADBA-4E0EAE1C0C9A}" type="sibTrans" cxnId="{12EF46EA-A08C-4931-AEF7-FF725F430B0D}">
      <dgm:prSet/>
      <dgm:spPr/>
      <dgm:t>
        <a:bodyPr/>
        <a:lstStyle/>
        <a:p>
          <a:endParaRPr lang="it-IT"/>
        </a:p>
      </dgm:t>
    </dgm:pt>
    <dgm:pt modelId="{EE2E77FD-D5C6-426B-B826-7404C14D391E}">
      <dgm:prSet phldrT="[Testo]"/>
      <dgm:spPr/>
      <dgm:t>
        <a:bodyPr/>
        <a:lstStyle/>
        <a:p>
          <a:r>
            <a:rPr lang="it-IT" dirty="0"/>
            <a:t>Hai </a:t>
          </a:r>
          <a:r>
            <a:rPr lang="it-IT" b="1" dirty="0"/>
            <a:t>news utili </a:t>
          </a:r>
          <a:r>
            <a:rPr lang="it-IT" dirty="0"/>
            <a:t>per la tua attività</a:t>
          </a:r>
        </a:p>
      </dgm:t>
    </dgm:pt>
    <dgm:pt modelId="{EE26B93F-E437-4065-A3D7-475F5434BC31}" type="parTrans" cxnId="{975CAB9C-878F-4C95-8537-1FA9D2F21CFF}">
      <dgm:prSet/>
      <dgm:spPr/>
      <dgm:t>
        <a:bodyPr/>
        <a:lstStyle/>
        <a:p>
          <a:endParaRPr lang="it-IT"/>
        </a:p>
      </dgm:t>
    </dgm:pt>
    <dgm:pt modelId="{812E83B7-2AD5-4ADF-8C28-11985FD10A83}" type="sibTrans" cxnId="{975CAB9C-878F-4C95-8537-1FA9D2F21CFF}">
      <dgm:prSet/>
      <dgm:spPr/>
      <dgm:t>
        <a:bodyPr/>
        <a:lstStyle/>
        <a:p>
          <a:endParaRPr lang="it-IT"/>
        </a:p>
      </dgm:t>
    </dgm:pt>
    <dgm:pt modelId="{45C5C427-BC8C-4C54-9115-125E6A650D26}" type="pres">
      <dgm:prSet presAssocID="{364C11FF-FD9D-4212-BB73-B5579B32FE9D}" presName="linear" presStyleCnt="0">
        <dgm:presLayoutVars>
          <dgm:animLvl val="lvl"/>
          <dgm:resizeHandles val="exact"/>
        </dgm:presLayoutVars>
      </dgm:prSet>
      <dgm:spPr/>
    </dgm:pt>
    <dgm:pt modelId="{E7F4688A-E129-4D40-93CC-4444A3527BFD}" type="pres">
      <dgm:prSet presAssocID="{C944A454-24BC-4163-9654-0DEEB2FC401E}" presName="parentText" presStyleLbl="node1" presStyleIdx="0" presStyleCnt="3" custLinFactNeighborX="28019">
        <dgm:presLayoutVars>
          <dgm:chMax val="0"/>
          <dgm:bulletEnabled val="1"/>
        </dgm:presLayoutVars>
      </dgm:prSet>
      <dgm:spPr/>
    </dgm:pt>
    <dgm:pt modelId="{6030D4D0-E4F8-4984-9B7D-E22687DE4820}" type="pres">
      <dgm:prSet presAssocID="{C944A454-24BC-4163-9654-0DEEB2FC401E}" presName="childText" presStyleLbl="revTx" presStyleIdx="0" presStyleCnt="3">
        <dgm:presLayoutVars>
          <dgm:bulletEnabled val="1"/>
        </dgm:presLayoutVars>
      </dgm:prSet>
      <dgm:spPr/>
    </dgm:pt>
    <dgm:pt modelId="{F7290B78-ACBE-4728-B443-5B7962CD04F3}" type="pres">
      <dgm:prSet presAssocID="{BCDD8564-E13C-47DF-BEA3-C972D237080C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B33DFCDC-03DD-4996-8402-87CCA88F0A24}" type="pres">
      <dgm:prSet presAssocID="{BCDD8564-E13C-47DF-BEA3-C972D237080C}" presName="childText" presStyleLbl="revTx" presStyleIdx="1" presStyleCnt="3">
        <dgm:presLayoutVars>
          <dgm:bulletEnabled val="1"/>
        </dgm:presLayoutVars>
      </dgm:prSet>
      <dgm:spPr/>
    </dgm:pt>
    <dgm:pt modelId="{988E6670-4AEA-4057-9AFA-3D11BCACC4CF}" type="pres">
      <dgm:prSet presAssocID="{8CE255E6-648B-4E39-8946-708F6902E30E}" presName="parentText" presStyleLbl="node1" presStyleIdx="2" presStyleCnt="3">
        <dgm:presLayoutVars>
          <dgm:chMax val="0"/>
          <dgm:bulletEnabled val="1"/>
        </dgm:presLayoutVars>
      </dgm:prSet>
      <dgm:spPr>
        <a:xfrm>
          <a:off x="0" y="3338387"/>
          <a:ext cx="7568973" cy="935415"/>
        </a:xfrm>
        <a:prstGeom prst="roundRect">
          <a:avLst/>
        </a:prstGeom>
      </dgm:spPr>
    </dgm:pt>
    <dgm:pt modelId="{859294C6-48AA-456E-9414-CE007EF72D6C}" type="pres">
      <dgm:prSet presAssocID="{8CE255E6-648B-4E39-8946-708F6902E30E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B2916D1A-C4A6-4494-997B-7AD56B10FCA9}" srcId="{C944A454-24BC-4163-9654-0DEEB2FC401E}" destId="{1E7F2958-30AD-4EE3-BB2D-C81ADF0BBBBB}" srcOrd="0" destOrd="0" parTransId="{D4DD7E99-232D-4444-A3E3-276F6CD6220A}" sibTransId="{8D640941-3BB3-44BC-8D68-58B0E040BA0B}"/>
    <dgm:cxn modelId="{7D587E34-B64F-4877-8774-51FFC748B064}" srcId="{364C11FF-FD9D-4212-BB73-B5579B32FE9D}" destId="{C944A454-24BC-4163-9654-0DEEB2FC401E}" srcOrd="0" destOrd="0" parTransId="{3AC801C3-5D0A-40CB-B2E5-A227D204E5F0}" sibTransId="{7BA15534-1020-4482-BA53-4341E20AD7F0}"/>
    <dgm:cxn modelId="{53E60563-44A8-4959-B7B4-C7EA59CA1B07}" type="presOf" srcId="{8CE255E6-648B-4E39-8946-708F6902E30E}" destId="{988E6670-4AEA-4057-9AFA-3D11BCACC4CF}" srcOrd="0" destOrd="0" presId="urn:microsoft.com/office/officeart/2005/8/layout/vList2"/>
    <dgm:cxn modelId="{3CCFC167-B845-4010-A5E5-4458C5DF5884}" srcId="{BCDD8564-E13C-47DF-BEA3-C972D237080C}" destId="{B335BC4B-7952-4B9F-ADBA-DF66A83558D2}" srcOrd="0" destOrd="0" parTransId="{B4100FD8-51D5-4FB9-9945-DC3CED0B59C4}" sibTransId="{62ECBA6F-DC0E-44BB-9F91-9B4250FC6CC7}"/>
    <dgm:cxn modelId="{4299B96E-A34A-406E-97AB-EA9EC44AC46D}" type="presOf" srcId="{364C11FF-FD9D-4212-BB73-B5579B32FE9D}" destId="{45C5C427-BC8C-4C54-9115-125E6A650D26}" srcOrd="0" destOrd="0" presId="urn:microsoft.com/office/officeart/2005/8/layout/vList2"/>
    <dgm:cxn modelId="{4FA60152-ABEF-4611-86D5-A31CEE22EE74}" type="presOf" srcId="{B335BC4B-7952-4B9F-ADBA-DF66A83558D2}" destId="{B33DFCDC-03DD-4996-8402-87CCA88F0A24}" srcOrd="0" destOrd="0" presId="urn:microsoft.com/office/officeart/2005/8/layout/vList2"/>
    <dgm:cxn modelId="{F158B053-049B-487F-A3C3-E8DC0E7A280A}" type="presOf" srcId="{EE2E77FD-D5C6-426B-B826-7404C14D391E}" destId="{859294C6-48AA-456E-9414-CE007EF72D6C}" srcOrd="0" destOrd="0" presId="urn:microsoft.com/office/officeart/2005/8/layout/vList2"/>
    <dgm:cxn modelId="{DF529190-5C24-4ECA-9A8D-815E79CEA81A}" type="presOf" srcId="{BCDD8564-E13C-47DF-BEA3-C972D237080C}" destId="{F7290B78-ACBE-4728-B443-5B7962CD04F3}" srcOrd="0" destOrd="0" presId="urn:microsoft.com/office/officeart/2005/8/layout/vList2"/>
    <dgm:cxn modelId="{975CAB9C-878F-4C95-8537-1FA9D2F21CFF}" srcId="{8CE255E6-648B-4E39-8946-708F6902E30E}" destId="{EE2E77FD-D5C6-426B-B826-7404C14D391E}" srcOrd="0" destOrd="0" parTransId="{EE26B93F-E437-4065-A3D7-475F5434BC31}" sibTransId="{812E83B7-2AD5-4ADF-8C28-11985FD10A83}"/>
    <dgm:cxn modelId="{E90435A1-7442-40EA-AB09-26A91A3CF5F7}" srcId="{364C11FF-FD9D-4212-BB73-B5579B32FE9D}" destId="{BCDD8564-E13C-47DF-BEA3-C972D237080C}" srcOrd="1" destOrd="0" parTransId="{94E2BB1D-175F-4C71-9824-63919361BAFB}" sibTransId="{562AF66D-408F-4272-AA6C-279C23FC0A45}"/>
    <dgm:cxn modelId="{D6F088A8-FA4C-4BB5-A242-99651AE8A9F7}" type="presOf" srcId="{C944A454-24BC-4163-9654-0DEEB2FC401E}" destId="{E7F4688A-E129-4D40-93CC-4444A3527BFD}" srcOrd="0" destOrd="0" presId="urn:microsoft.com/office/officeart/2005/8/layout/vList2"/>
    <dgm:cxn modelId="{12EF46EA-A08C-4931-AEF7-FF725F430B0D}" srcId="{364C11FF-FD9D-4212-BB73-B5579B32FE9D}" destId="{8CE255E6-648B-4E39-8946-708F6902E30E}" srcOrd="2" destOrd="0" parTransId="{537EA732-56F9-4DFD-851C-16BA8ADD9935}" sibTransId="{9FCEF48D-21B6-4276-ADBA-4E0EAE1C0C9A}"/>
    <dgm:cxn modelId="{BFA92BF8-07BC-41E1-A781-E89679845441}" type="presOf" srcId="{1E7F2958-30AD-4EE3-BB2D-C81ADF0BBBBB}" destId="{6030D4D0-E4F8-4984-9B7D-E22687DE4820}" srcOrd="0" destOrd="0" presId="urn:microsoft.com/office/officeart/2005/8/layout/vList2"/>
    <dgm:cxn modelId="{455AE2CB-187D-47B5-91A1-C884CF0FEF85}" type="presParOf" srcId="{45C5C427-BC8C-4C54-9115-125E6A650D26}" destId="{E7F4688A-E129-4D40-93CC-4444A3527BFD}" srcOrd="0" destOrd="0" presId="urn:microsoft.com/office/officeart/2005/8/layout/vList2"/>
    <dgm:cxn modelId="{5D72AA62-1459-4A96-9F68-5A46F12C07E1}" type="presParOf" srcId="{45C5C427-BC8C-4C54-9115-125E6A650D26}" destId="{6030D4D0-E4F8-4984-9B7D-E22687DE4820}" srcOrd="1" destOrd="0" presId="urn:microsoft.com/office/officeart/2005/8/layout/vList2"/>
    <dgm:cxn modelId="{4136A96D-4A18-4DFC-9965-EE642824C15B}" type="presParOf" srcId="{45C5C427-BC8C-4C54-9115-125E6A650D26}" destId="{F7290B78-ACBE-4728-B443-5B7962CD04F3}" srcOrd="2" destOrd="0" presId="urn:microsoft.com/office/officeart/2005/8/layout/vList2"/>
    <dgm:cxn modelId="{B704A678-2732-46E3-BCCA-D58862D0A2F5}" type="presParOf" srcId="{45C5C427-BC8C-4C54-9115-125E6A650D26}" destId="{B33DFCDC-03DD-4996-8402-87CCA88F0A24}" srcOrd="3" destOrd="0" presId="urn:microsoft.com/office/officeart/2005/8/layout/vList2"/>
    <dgm:cxn modelId="{4A5ABAE2-A858-4EF2-81D3-191A41B8FE02}" type="presParOf" srcId="{45C5C427-BC8C-4C54-9115-125E6A650D26}" destId="{988E6670-4AEA-4057-9AFA-3D11BCACC4CF}" srcOrd="4" destOrd="0" presId="urn:microsoft.com/office/officeart/2005/8/layout/vList2"/>
    <dgm:cxn modelId="{611AECAF-AC96-4016-80D4-2DE845BF810F}" type="presParOf" srcId="{45C5C427-BC8C-4C54-9115-125E6A650D26}" destId="{859294C6-48AA-456E-9414-CE007EF72D6C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364C11FF-FD9D-4212-BB73-B5579B32FE9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C944A454-24BC-4163-9654-0DEEB2FC401E}">
      <dgm:prSet phldrT="[Testo]"/>
      <dgm:spPr>
        <a:solidFill>
          <a:schemeClr val="tx1"/>
        </a:solidFill>
      </dgm:spPr>
      <dgm:t>
        <a:bodyPr/>
        <a:lstStyle/>
        <a:p>
          <a:r>
            <a:rPr lang="it-IT" dirty="0"/>
            <a:t>3. Conoscere </a:t>
          </a:r>
        </a:p>
      </dgm:t>
    </dgm:pt>
    <dgm:pt modelId="{3AC801C3-5D0A-40CB-B2E5-A227D204E5F0}" type="parTrans" cxnId="{7D587E34-B64F-4877-8774-51FFC748B064}">
      <dgm:prSet/>
      <dgm:spPr/>
      <dgm:t>
        <a:bodyPr/>
        <a:lstStyle/>
        <a:p>
          <a:endParaRPr lang="it-IT"/>
        </a:p>
      </dgm:t>
    </dgm:pt>
    <dgm:pt modelId="{7BA15534-1020-4482-BA53-4341E20AD7F0}" type="sibTrans" cxnId="{7D587E34-B64F-4877-8774-51FFC748B064}">
      <dgm:prSet/>
      <dgm:spPr/>
      <dgm:t>
        <a:bodyPr/>
        <a:lstStyle/>
        <a:p>
          <a:endParaRPr lang="it-IT"/>
        </a:p>
      </dgm:t>
    </dgm:pt>
    <dgm:pt modelId="{1E7F2958-30AD-4EE3-BB2D-C81ADF0BBBBB}">
      <dgm:prSet phldrT="[Testo]"/>
      <dgm:spPr/>
      <dgm:t>
        <a:bodyPr/>
        <a:lstStyle/>
        <a:p>
          <a:r>
            <a:rPr lang="it-IT" dirty="0"/>
            <a:t>Hai </a:t>
          </a:r>
          <a:r>
            <a:rPr lang="it-IT" b="1" dirty="0"/>
            <a:t>news utili, </a:t>
          </a:r>
          <a:r>
            <a:rPr lang="it-IT" b="0" dirty="0"/>
            <a:t>ad esempio:</a:t>
          </a:r>
          <a:r>
            <a:rPr lang="it-IT" b="1" dirty="0"/>
            <a:t> BANDI</a:t>
          </a:r>
          <a:endParaRPr lang="it-IT" dirty="0"/>
        </a:p>
      </dgm:t>
    </dgm:pt>
    <dgm:pt modelId="{D4DD7E99-232D-4444-A3E3-276F6CD6220A}" type="parTrans" cxnId="{B2916D1A-C4A6-4494-997B-7AD56B10FCA9}">
      <dgm:prSet/>
      <dgm:spPr/>
      <dgm:t>
        <a:bodyPr/>
        <a:lstStyle/>
        <a:p>
          <a:endParaRPr lang="it-IT"/>
        </a:p>
      </dgm:t>
    </dgm:pt>
    <dgm:pt modelId="{8D640941-3BB3-44BC-8D68-58B0E040BA0B}" type="sibTrans" cxnId="{B2916D1A-C4A6-4494-997B-7AD56B10FCA9}">
      <dgm:prSet/>
      <dgm:spPr/>
      <dgm:t>
        <a:bodyPr/>
        <a:lstStyle/>
        <a:p>
          <a:endParaRPr lang="it-IT"/>
        </a:p>
      </dgm:t>
    </dgm:pt>
    <dgm:pt modelId="{BCDD8564-E13C-47DF-BEA3-C972D237080C}">
      <dgm:prSet phldrT="[Testo]"/>
      <dgm:spPr>
        <a:solidFill>
          <a:schemeClr val="tx1"/>
        </a:solidFill>
      </dgm:spPr>
      <dgm:t>
        <a:bodyPr/>
        <a:lstStyle/>
        <a:p>
          <a:r>
            <a:rPr lang="it-IT" dirty="0"/>
            <a:t>2. Formazione</a:t>
          </a:r>
        </a:p>
      </dgm:t>
    </dgm:pt>
    <dgm:pt modelId="{94E2BB1D-175F-4C71-9824-63919361BAFB}" type="parTrans" cxnId="{E90435A1-7442-40EA-AB09-26A91A3CF5F7}">
      <dgm:prSet/>
      <dgm:spPr/>
      <dgm:t>
        <a:bodyPr/>
        <a:lstStyle/>
        <a:p>
          <a:endParaRPr lang="it-IT"/>
        </a:p>
      </dgm:t>
    </dgm:pt>
    <dgm:pt modelId="{562AF66D-408F-4272-AA6C-279C23FC0A45}" type="sibTrans" cxnId="{E90435A1-7442-40EA-AB09-26A91A3CF5F7}">
      <dgm:prSet/>
      <dgm:spPr/>
      <dgm:t>
        <a:bodyPr/>
        <a:lstStyle/>
        <a:p>
          <a:endParaRPr lang="it-IT"/>
        </a:p>
      </dgm:t>
    </dgm:pt>
    <dgm:pt modelId="{B335BC4B-7952-4B9F-ADBA-DF66A83558D2}">
      <dgm:prSet phldrT="[Testo]"/>
      <dgm:spPr/>
      <dgm:t>
        <a:bodyPr/>
        <a:lstStyle/>
        <a:p>
          <a:r>
            <a:rPr lang="it-IT" b="1" dirty="0"/>
            <a:t>Risparmia </a:t>
          </a:r>
          <a:r>
            <a:rPr lang="it-IT" dirty="0"/>
            <a:t>per accrescere le competenze</a:t>
          </a:r>
        </a:p>
      </dgm:t>
    </dgm:pt>
    <dgm:pt modelId="{B4100FD8-51D5-4FB9-9945-DC3CED0B59C4}" type="parTrans" cxnId="{3CCFC167-B845-4010-A5E5-4458C5DF5884}">
      <dgm:prSet/>
      <dgm:spPr/>
      <dgm:t>
        <a:bodyPr/>
        <a:lstStyle/>
        <a:p>
          <a:endParaRPr lang="it-IT"/>
        </a:p>
      </dgm:t>
    </dgm:pt>
    <dgm:pt modelId="{62ECBA6F-DC0E-44BB-9F91-9B4250FC6CC7}" type="sibTrans" cxnId="{3CCFC167-B845-4010-A5E5-4458C5DF5884}">
      <dgm:prSet/>
      <dgm:spPr/>
      <dgm:t>
        <a:bodyPr/>
        <a:lstStyle/>
        <a:p>
          <a:endParaRPr lang="it-IT"/>
        </a:p>
      </dgm:t>
    </dgm:pt>
    <dgm:pt modelId="{8CE255E6-648B-4E39-8946-708F6902E30E}">
      <dgm:prSet phldrT="[Testo]" custT="1"/>
      <dgm:spPr>
        <a:solidFill>
          <a:srgbClr val="0050AA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148590" tIns="148590" rIns="148590" bIns="148590" numCol="1" spcCol="1270" anchor="ctr" anchorCtr="0"/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>
              <a:solidFill>
                <a:prstClr val="white"/>
              </a:solidFill>
              <a:latin typeface="Lidl Font Pro"/>
              <a:ea typeface="+mn-ea"/>
              <a:cs typeface="+mn-cs"/>
            </a:rPr>
            <a:t>3. Convenzioni</a:t>
          </a:r>
        </a:p>
      </dgm:t>
    </dgm:pt>
    <dgm:pt modelId="{537EA732-56F9-4DFD-851C-16BA8ADD9935}" type="parTrans" cxnId="{12EF46EA-A08C-4931-AEF7-FF725F430B0D}">
      <dgm:prSet/>
      <dgm:spPr/>
      <dgm:t>
        <a:bodyPr/>
        <a:lstStyle/>
        <a:p>
          <a:endParaRPr lang="it-IT"/>
        </a:p>
      </dgm:t>
    </dgm:pt>
    <dgm:pt modelId="{9FCEF48D-21B6-4276-ADBA-4E0EAE1C0C9A}" type="sibTrans" cxnId="{12EF46EA-A08C-4931-AEF7-FF725F430B0D}">
      <dgm:prSet/>
      <dgm:spPr/>
      <dgm:t>
        <a:bodyPr/>
        <a:lstStyle/>
        <a:p>
          <a:endParaRPr lang="it-IT"/>
        </a:p>
      </dgm:t>
    </dgm:pt>
    <dgm:pt modelId="{EE2E77FD-D5C6-426B-B826-7404C14D391E}">
      <dgm:prSet phldrT="[Testo]"/>
      <dgm:spPr/>
      <dgm:t>
        <a:bodyPr/>
        <a:lstStyle/>
        <a:p>
          <a:r>
            <a:rPr lang="it-IT" b="1" dirty="0"/>
            <a:t>Sfrutta le potenzialità </a:t>
          </a:r>
          <a:r>
            <a:rPr lang="it-IT" dirty="0"/>
            <a:t>del network</a:t>
          </a:r>
        </a:p>
      </dgm:t>
    </dgm:pt>
    <dgm:pt modelId="{EE26B93F-E437-4065-A3D7-475F5434BC31}" type="parTrans" cxnId="{975CAB9C-878F-4C95-8537-1FA9D2F21CFF}">
      <dgm:prSet/>
      <dgm:spPr/>
      <dgm:t>
        <a:bodyPr/>
        <a:lstStyle/>
        <a:p>
          <a:endParaRPr lang="it-IT"/>
        </a:p>
      </dgm:t>
    </dgm:pt>
    <dgm:pt modelId="{812E83B7-2AD5-4ADF-8C28-11985FD10A83}" type="sibTrans" cxnId="{975CAB9C-878F-4C95-8537-1FA9D2F21CFF}">
      <dgm:prSet/>
      <dgm:spPr/>
      <dgm:t>
        <a:bodyPr/>
        <a:lstStyle/>
        <a:p>
          <a:endParaRPr lang="it-IT"/>
        </a:p>
      </dgm:t>
    </dgm:pt>
    <dgm:pt modelId="{45C5C427-BC8C-4C54-9115-125E6A650D26}" type="pres">
      <dgm:prSet presAssocID="{364C11FF-FD9D-4212-BB73-B5579B32FE9D}" presName="linear" presStyleCnt="0">
        <dgm:presLayoutVars>
          <dgm:animLvl val="lvl"/>
          <dgm:resizeHandles val="exact"/>
        </dgm:presLayoutVars>
      </dgm:prSet>
      <dgm:spPr/>
    </dgm:pt>
    <dgm:pt modelId="{E7F4688A-E129-4D40-93CC-4444A3527BFD}" type="pres">
      <dgm:prSet presAssocID="{C944A454-24BC-4163-9654-0DEEB2FC401E}" presName="parentText" presStyleLbl="node1" presStyleIdx="0" presStyleCnt="3" custLinFactNeighborX="28019">
        <dgm:presLayoutVars>
          <dgm:chMax val="0"/>
          <dgm:bulletEnabled val="1"/>
        </dgm:presLayoutVars>
      </dgm:prSet>
      <dgm:spPr/>
    </dgm:pt>
    <dgm:pt modelId="{6030D4D0-E4F8-4984-9B7D-E22687DE4820}" type="pres">
      <dgm:prSet presAssocID="{C944A454-24BC-4163-9654-0DEEB2FC401E}" presName="childText" presStyleLbl="revTx" presStyleIdx="0" presStyleCnt="3">
        <dgm:presLayoutVars>
          <dgm:bulletEnabled val="1"/>
        </dgm:presLayoutVars>
      </dgm:prSet>
      <dgm:spPr/>
    </dgm:pt>
    <dgm:pt modelId="{F7290B78-ACBE-4728-B443-5B7962CD04F3}" type="pres">
      <dgm:prSet presAssocID="{BCDD8564-E13C-47DF-BEA3-C972D237080C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B33DFCDC-03DD-4996-8402-87CCA88F0A24}" type="pres">
      <dgm:prSet presAssocID="{BCDD8564-E13C-47DF-BEA3-C972D237080C}" presName="childText" presStyleLbl="revTx" presStyleIdx="1" presStyleCnt="3">
        <dgm:presLayoutVars>
          <dgm:bulletEnabled val="1"/>
        </dgm:presLayoutVars>
      </dgm:prSet>
      <dgm:spPr/>
    </dgm:pt>
    <dgm:pt modelId="{988E6670-4AEA-4057-9AFA-3D11BCACC4CF}" type="pres">
      <dgm:prSet presAssocID="{8CE255E6-648B-4E39-8946-708F6902E30E}" presName="parentText" presStyleLbl="node1" presStyleIdx="2" presStyleCnt="3">
        <dgm:presLayoutVars>
          <dgm:chMax val="0"/>
          <dgm:bulletEnabled val="1"/>
        </dgm:presLayoutVars>
      </dgm:prSet>
      <dgm:spPr>
        <a:xfrm>
          <a:off x="0" y="3338387"/>
          <a:ext cx="7568973" cy="935415"/>
        </a:xfrm>
        <a:prstGeom prst="roundRect">
          <a:avLst/>
        </a:prstGeom>
      </dgm:spPr>
    </dgm:pt>
    <dgm:pt modelId="{859294C6-48AA-456E-9414-CE007EF72D6C}" type="pres">
      <dgm:prSet presAssocID="{8CE255E6-648B-4E39-8946-708F6902E30E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B2916D1A-C4A6-4494-997B-7AD56B10FCA9}" srcId="{C944A454-24BC-4163-9654-0DEEB2FC401E}" destId="{1E7F2958-30AD-4EE3-BB2D-C81ADF0BBBBB}" srcOrd="0" destOrd="0" parTransId="{D4DD7E99-232D-4444-A3E3-276F6CD6220A}" sibTransId="{8D640941-3BB3-44BC-8D68-58B0E040BA0B}"/>
    <dgm:cxn modelId="{7D587E34-B64F-4877-8774-51FFC748B064}" srcId="{364C11FF-FD9D-4212-BB73-B5579B32FE9D}" destId="{C944A454-24BC-4163-9654-0DEEB2FC401E}" srcOrd="0" destOrd="0" parTransId="{3AC801C3-5D0A-40CB-B2E5-A227D204E5F0}" sibTransId="{7BA15534-1020-4482-BA53-4341E20AD7F0}"/>
    <dgm:cxn modelId="{53E60563-44A8-4959-B7B4-C7EA59CA1B07}" type="presOf" srcId="{8CE255E6-648B-4E39-8946-708F6902E30E}" destId="{988E6670-4AEA-4057-9AFA-3D11BCACC4CF}" srcOrd="0" destOrd="0" presId="urn:microsoft.com/office/officeart/2005/8/layout/vList2"/>
    <dgm:cxn modelId="{3CCFC167-B845-4010-A5E5-4458C5DF5884}" srcId="{BCDD8564-E13C-47DF-BEA3-C972D237080C}" destId="{B335BC4B-7952-4B9F-ADBA-DF66A83558D2}" srcOrd="0" destOrd="0" parTransId="{B4100FD8-51D5-4FB9-9945-DC3CED0B59C4}" sibTransId="{62ECBA6F-DC0E-44BB-9F91-9B4250FC6CC7}"/>
    <dgm:cxn modelId="{4299B96E-A34A-406E-97AB-EA9EC44AC46D}" type="presOf" srcId="{364C11FF-FD9D-4212-BB73-B5579B32FE9D}" destId="{45C5C427-BC8C-4C54-9115-125E6A650D26}" srcOrd="0" destOrd="0" presId="urn:microsoft.com/office/officeart/2005/8/layout/vList2"/>
    <dgm:cxn modelId="{4FA60152-ABEF-4611-86D5-A31CEE22EE74}" type="presOf" srcId="{B335BC4B-7952-4B9F-ADBA-DF66A83558D2}" destId="{B33DFCDC-03DD-4996-8402-87CCA88F0A24}" srcOrd="0" destOrd="0" presId="urn:microsoft.com/office/officeart/2005/8/layout/vList2"/>
    <dgm:cxn modelId="{F158B053-049B-487F-A3C3-E8DC0E7A280A}" type="presOf" srcId="{EE2E77FD-D5C6-426B-B826-7404C14D391E}" destId="{859294C6-48AA-456E-9414-CE007EF72D6C}" srcOrd="0" destOrd="0" presId="urn:microsoft.com/office/officeart/2005/8/layout/vList2"/>
    <dgm:cxn modelId="{DF529190-5C24-4ECA-9A8D-815E79CEA81A}" type="presOf" srcId="{BCDD8564-E13C-47DF-BEA3-C972D237080C}" destId="{F7290B78-ACBE-4728-B443-5B7962CD04F3}" srcOrd="0" destOrd="0" presId="urn:microsoft.com/office/officeart/2005/8/layout/vList2"/>
    <dgm:cxn modelId="{975CAB9C-878F-4C95-8537-1FA9D2F21CFF}" srcId="{8CE255E6-648B-4E39-8946-708F6902E30E}" destId="{EE2E77FD-D5C6-426B-B826-7404C14D391E}" srcOrd="0" destOrd="0" parTransId="{EE26B93F-E437-4065-A3D7-475F5434BC31}" sibTransId="{812E83B7-2AD5-4ADF-8C28-11985FD10A83}"/>
    <dgm:cxn modelId="{E90435A1-7442-40EA-AB09-26A91A3CF5F7}" srcId="{364C11FF-FD9D-4212-BB73-B5579B32FE9D}" destId="{BCDD8564-E13C-47DF-BEA3-C972D237080C}" srcOrd="1" destOrd="0" parTransId="{94E2BB1D-175F-4C71-9824-63919361BAFB}" sibTransId="{562AF66D-408F-4272-AA6C-279C23FC0A45}"/>
    <dgm:cxn modelId="{D6F088A8-FA4C-4BB5-A242-99651AE8A9F7}" type="presOf" srcId="{C944A454-24BC-4163-9654-0DEEB2FC401E}" destId="{E7F4688A-E129-4D40-93CC-4444A3527BFD}" srcOrd="0" destOrd="0" presId="urn:microsoft.com/office/officeart/2005/8/layout/vList2"/>
    <dgm:cxn modelId="{12EF46EA-A08C-4931-AEF7-FF725F430B0D}" srcId="{364C11FF-FD9D-4212-BB73-B5579B32FE9D}" destId="{8CE255E6-648B-4E39-8946-708F6902E30E}" srcOrd="2" destOrd="0" parTransId="{537EA732-56F9-4DFD-851C-16BA8ADD9935}" sibTransId="{9FCEF48D-21B6-4276-ADBA-4E0EAE1C0C9A}"/>
    <dgm:cxn modelId="{BFA92BF8-07BC-41E1-A781-E89679845441}" type="presOf" srcId="{1E7F2958-30AD-4EE3-BB2D-C81ADF0BBBBB}" destId="{6030D4D0-E4F8-4984-9B7D-E22687DE4820}" srcOrd="0" destOrd="0" presId="urn:microsoft.com/office/officeart/2005/8/layout/vList2"/>
    <dgm:cxn modelId="{455AE2CB-187D-47B5-91A1-C884CF0FEF85}" type="presParOf" srcId="{45C5C427-BC8C-4C54-9115-125E6A650D26}" destId="{E7F4688A-E129-4D40-93CC-4444A3527BFD}" srcOrd="0" destOrd="0" presId="urn:microsoft.com/office/officeart/2005/8/layout/vList2"/>
    <dgm:cxn modelId="{5D72AA62-1459-4A96-9F68-5A46F12C07E1}" type="presParOf" srcId="{45C5C427-BC8C-4C54-9115-125E6A650D26}" destId="{6030D4D0-E4F8-4984-9B7D-E22687DE4820}" srcOrd="1" destOrd="0" presId="urn:microsoft.com/office/officeart/2005/8/layout/vList2"/>
    <dgm:cxn modelId="{4136A96D-4A18-4DFC-9965-EE642824C15B}" type="presParOf" srcId="{45C5C427-BC8C-4C54-9115-125E6A650D26}" destId="{F7290B78-ACBE-4728-B443-5B7962CD04F3}" srcOrd="2" destOrd="0" presId="urn:microsoft.com/office/officeart/2005/8/layout/vList2"/>
    <dgm:cxn modelId="{B704A678-2732-46E3-BCCA-D58862D0A2F5}" type="presParOf" srcId="{45C5C427-BC8C-4C54-9115-125E6A650D26}" destId="{B33DFCDC-03DD-4996-8402-87CCA88F0A24}" srcOrd="3" destOrd="0" presId="urn:microsoft.com/office/officeart/2005/8/layout/vList2"/>
    <dgm:cxn modelId="{4A5ABAE2-A858-4EF2-81D3-191A41B8FE02}" type="presParOf" srcId="{45C5C427-BC8C-4C54-9115-125E6A650D26}" destId="{988E6670-4AEA-4057-9AFA-3D11BCACC4CF}" srcOrd="4" destOrd="0" presId="urn:microsoft.com/office/officeart/2005/8/layout/vList2"/>
    <dgm:cxn modelId="{611AECAF-AC96-4016-80D4-2DE845BF810F}" type="presParOf" srcId="{45C5C427-BC8C-4C54-9115-125E6A650D26}" destId="{859294C6-48AA-456E-9414-CE007EF72D6C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364C11FF-FD9D-4212-BB73-B5579B32FE9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C944A454-24BC-4163-9654-0DEEB2FC401E}">
      <dgm:prSet phldrT="[Testo]"/>
      <dgm:spPr>
        <a:solidFill>
          <a:schemeClr val="tx1"/>
        </a:solidFill>
      </dgm:spPr>
      <dgm:t>
        <a:bodyPr/>
        <a:lstStyle/>
        <a:p>
          <a:r>
            <a:rPr lang="it-IT" dirty="0"/>
            <a:t>3. Conoscere </a:t>
          </a:r>
        </a:p>
      </dgm:t>
    </dgm:pt>
    <dgm:pt modelId="{3AC801C3-5D0A-40CB-B2E5-A227D204E5F0}" type="parTrans" cxnId="{7D587E34-B64F-4877-8774-51FFC748B064}">
      <dgm:prSet/>
      <dgm:spPr/>
      <dgm:t>
        <a:bodyPr/>
        <a:lstStyle/>
        <a:p>
          <a:endParaRPr lang="it-IT"/>
        </a:p>
      </dgm:t>
    </dgm:pt>
    <dgm:pt modelId="{7BA15534-1020-4482-BA53-4341E20AD7F0}" type="sibTrans" cxnId="{7D587E34-B64F-4877-8774-51FFC748B064}">
      <dgm:prSet/>
      <dgm:spPr/>
      <dgm:t>
        <a:bodyPr/>
        <a:lstStyle/>
        <a:p>
          <a:endParaRPr lang="it-IT"/>
        </a:p>
      </dgm:t>
    </dgm:pt>
    <dgm:pt modelId="{1E7F2958-30AD-4EE3-BB2D-C81ADF0BBBBB}">
      <dgm:prSet phldrT="[Testo]"/>
      <dgm:spPr/>
      <dgm:t>
        <a:bodyPr/>
        <a:lstStyle/>
        <a:p>
          <a:r>
            <a:rPr lang="it-IT" dirty="0"/>
            <a:t>Hai </a:t>
          </a:r>
          <a:r>
            <a:rPr lang="it-IT" b="1" dirty="0"/>
            <a:t>news utili, </a:t>
          </a:r>
          <a:r>
            <a:rPr lang="it-IT" b="0" dirty="0"/>
            <a:t>ad esempio:</a:t>
          </a:r>
          <a:r>
            <a:rPr lang="it-IT" b="1" dirty="0"/>
            <a:t> NORMATIVA</a:t>
          </a:r>
          <a:endParaRPr lang="it-IT" dirty="0"/>
        </a:p>
      </dgm:t>
    </dgm:pt>
    <dgm:pt modelId="{D4DD7E99-232D-4444-A3E3-276F6CD6220A}" type="parTrans" cxnId="{B2916D1A-C4A6-4494-997B-7AD56B10FCA9}">
      <dgm:prSet/>
      <dgm:spPr/>
      <dgm:t>
        <a:bodyPr/>
        <a:lstStyle/>
        <a:p>
          <a:endParaRPr lang="it-IT"/>
        </a:p>
      </dgm:t>
    </dgm:pt>
    <dgm:pt modelId="{8D640941-3BB3-44BC-8D68-58B0E040BA0B}" type="sibTrans" cxnId="{B2916D1A-C4A6-4494-997B-7AD56B10FCA9}">
      <dgm:prSet/>
      <dgm:spPr/>
      <dgm:t>
        <a:bodyPr/>
        <a:lstStyle/>
        <a:p>
          <a:endParaRPr lang="it-IT"/>
        </a:p>
      </dgm:t>
    </dgm:pt>
    <dgm:pt modelId="{BCDD8564-E13C-47DF-BEA3-C972D237080C}">
      <dgm:prSet phldrT="[Testo]"/>
      <dgm:spPr>
        <a:solidFill>
          <a:schemeClr val="tx1"/>
        </a:solidFill>
      </dgm:spPr>
      <dgm:t>
        <a:bodyPr/>
        <a:lstStyle/>
        <a:p>
          <a:r>
            <a:rPr lang="it-IT" dirty="0"/>
            <a:t>2. Formazione</a:t>
          </a:r>
        </a:p>
      </dgm:t>
    </dgm:pt>
    <dgm:pt modelId="{94E2BB1D-175F-4C71-9824-63919361BAFB}" type="parTrans" cxnId="{E90435A1-7442-40EA-AB09-26A91A3CF5F7}">
      <dgm:prSet/>
      <dgm:spPr/>
      <dgm:t>
        <a:bodyPr/>
        <a:lstStyle/>
        <a:p>
          <a:endParaRPr lang="it-IT"/>
        </a:p>
      </dgm:t>
    </dgm:pt>
    <dgm:pt modelId="{562AF66D-408F-4272-AA6C-279C23FC0A45}" type="sibTrans" cxnId="{E90435A1-7442-40EA-AB09-26A91A3CF5F7}">
      <dgm:prSet/>
      <dgm:spPr/>
      <dgm:t>
        <a:bodyPr/>
        <a:lstStyle/>
        <a:p>
          <a:endParaRPr lang="it-IT"/>
        </a:p>
      </dgm:t>
    </dgm:pt>
    <dgm:pt modelId="{B335BC4B-7952-4B9F-ADBA-DF66A83558D2}">
      <dgm:prSet phldrT="[Testo]"/>
      <dgm:spPr/>
      <dgm:t>
        <a:bodyPr/>
        <a:lstStyle/>
        <a:p>
          <a:r>
            <a:rPr lang="it-IT" b="1" dirty="0"/>
            <a:t>Risparmia </a:t>
          </a:r>
          <a:r>
            <a:rPr lang="it-IT" dirty="0"/>
            <a:t>per accrescere le competenze</a:t>
          </a:r>
        </a:p>
      </dgm:t>
    </dgm:pt>
    <dgm:pt modelId="{B4100FD8-51D5-4FB9-9945-DC3CED0B59C4}" type="parTrans" cxnId="{3CCFC167-B845-4010-A5E5-4458C5DF5884}">
      <dgm:prSet/>
      <dgm:spPr/>
      <dgm:t>
        <a:bodyPr/>
        <a:lstStyle/>
        <a:p>
          <a:endParaRPr lang="it-IT"/>
        </a:p>
      </dgm:t>
    </dgm:pt>
    <dgm:pt modelId="{62ECBA6F-DC0E-44BB-9F91-9B4250FC6CC7}" type="sibTrans" cxnId="{3CCFC167-B845-4010-A5E5-4458C5DF5884}">
      <dgm:prSet/>
      <dgm:spPr/>
      <dgm:t>
        <a:bodyPr/>
        <a:lstStyle/>
        <a:p>
          <a:endParaRPr lang="it-IT"/>
        </a:p>
      </dgm:t>
    </dgm:pt>
    <dgm:pt modelId="{8CE255E6-648B-4E39-8946-708F6902E30E}">
      <dgm:prSet phldrT="[Testo]" custT="1"/>
      <dgm:spPr>
        <a:solidFill>
          <a:srgbClr val="0050AA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148590" tIns="148590" rIns="148590" bIns="148590" numCol="1" spcCol="1270" anchor="ctr" anchorCtr="0"/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>
              <a:solidFill>
                <a:prstClr val="white"/>
              </a:solidFill>
              <a:latin typeface="Lidl Font Pro"/>
              <a:ea typeface="+mn-ea"/>
              <a:cs typeface="+mn-cs"/>
            </a:rPr>
            <a:t>3. Convenzioni</a:t>
          </a:r>
        </a:p>
      </dgm:t>
    </dgm:pt>
    <dgm:pt modelId="{537EA732-56F9-4DFD-851C-16BA8ADD9935}" type="parTrans" cxnId="{12EF46EA-A08C-4931-AEF7-FF725F430B0D}">
      <dgm:prSet/>
      <dgm:spPr/>
      <dgm:t>
        <a:bodyPr/>
        <a:lstStyle/>
        <a:p>
          <a:endParaRPr lang="it-IT"/>
        </a:p>
      </dgm:t>
    </dgm:pt>
    <dgm:pt modelId="{9FCEF48D-21B6-4276-ADBA-4E0EAE1C0C9A}" type="sibTrans" cxnId="{12EF46EA-A08C-4931-AEF7-FF725F430B0D}">
      <dgm:prSet/>
      <dgm:spPr/>
      <dgm:t>
        <a:bodyPr/>
        <a:lstStyle/>
        <a:p>
          <a:endParaRPr lang="it-IT"/>
        </a:p>
      </dgm:t>
    </dgm:pt>
    <dgm:pt modelId="{EE2E77FD-D5C6-426B-B826-7404C14D391E}">
      <dgm:prSet phldrT="[Testo]"/>
      <dgm:spPr/>
      <dgm:t>
        <a:bodyPr/>
        <a:lstStyle/>
        <a:p>
          <a:r>
            <a:rPr lang="it-IT" b="1" dirty="0"/>
            <a:t>Sfrutta le potenzialità </a:t>
          </a:r>
          <a:r>
            <a:rPr lang="it-IT" dirty="0"/>
            <a:t>del network</a:t>
          </a:r>
        </a:p>
      </dgm:t>
    </dgm:pt>
    <dgm:pt modelId="{EE26B93F-E437-4065-A3D7-475F5434BC31}" type="parTrans" cxnId="{975CAB9C-878F-4C95-8537-1FA9D2F21CFF}">
      <dgm:prSet/>
      <dgm:spPr/>
      <dgm:t>
        <a:bodyPr/>
        <a:lstStyle/>
        <a:p>
          <a:endParaRPr lang="it-IT"/>
        </a:p>
      </dgm:t>
    </dgm:pt>
    <dgm:pt modelId="{812E83B7-2AD5-4ADF-8C28-11985FD10A83}" type="sibTrans" cxnId="{975CAB9C-878F-4C95-8537-1FA9D2F21CFF}">
      <dgm:prSet/>
      <dgm:spPr/>
      <dgm:t>
        <a:bodyPr/>
        <a:lstStyle/>
        <a:p>
          <a:endParaRPr lang="it-IT"/>
        </a:p>
      </dgm:t>
    </dgm:pt>
    <dgm:pt modelId="{45C5C427-BC8C-4C54-9115-125E6A650D26}" type="pres">
      <dgm:prSet presAssocID="{364C11FF-FD9D-4212-BB73-B5579B32FE9D}" presName="linear" presStyleCnt="0">
        <dgm:presLayoutVars>
          <dgm:animLvl val="lvl"/>
          <dgm:resizeHandles val="exact"/>
        </dgm:presLayoutVars>
      </dgm:prSet>
      <dgm:spPr/>
    </dgm:pt>
    <dgm:pt modelId="{E7F4688A-E129-4D40-93CC-4444A3527BFD}" type="pres">
      <dgm:prSet presAssocID="{C944A454-24BC-4163-9654-0DEEB2FC401E}" presName="parentText" presStyleLbl="node1" presStyleIdx="0" presStyleCnt="3" custLinFactNeighborX="28019">
        <dgm:presLayoutVars>
          <dgm:chMax val="0"/>
          <dgm:bulletEnabled val="1"/>
        </dgm:presLayoutVars>
      </dgm:prSet>
      <dgm:spPr/>
    </dgm:pt>
    <dgm:pt modelId="{6030D4D0-E4F8-4984-9B7D-E22687DE4820}" type="pres">
      <dgm:prSet presAssocID="{C944A454-24BC-4163-9654-0DEEB2FC401E}" presName="childText" presStyleLbl="revTx" presStyleIdx="0" presStyleCnt="3">
        <dgm:presLayoutVars>
          <dgm:bulletEnabled val="1"/>
        </dgm:presLayoutVars>
      </dgm:prSet>
      <dgm:spPr/>
    </dgm:pt>
    <dgm:pt modelId="{F7290B78-ACBE-4728-B443-5B7962CD04F3}" type="pres">
      <dgm:prSet presAssocID="{BCDD8564-E13C-47DF-BEA3-C972D237080C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B33DFCDC-03DD-4996-8402-87CCA88F0A24}" type="pres">
      <dgm:prSet presAssocID="{BCDD8564-E13C-47DF-BEA3-C972D237080C}" presName="childText" presStyleLbl="revTx" presStyleIdx="1" presStyleCnt="3">
        <dgm:presLayoutVars>
          <dgm:bulletEnabled val="1"/>
        </dgm:presLayoutVars>
      </dgm:prSet>
      <dgm:spPr/>
    </dgm:pt>
    <dgm:pt modelId="{988E6670-4AEA-4057-9AFA-3D11BCACC4CF}" type="pres">
      <dgm:prSet presAssocID="{8CE255E6-648B-4E39-8946-708F6902E30E}" presName="parentText" presStyleLbl="node1" presStyleIdx="2" presStyleCnt="3">
        <dgm:presLayoutVars>
          <dgm:chMax val="0"/>
          <dgm:bulletEnabled val="1"/>
        </dgm:presLayoutVars>
      </dgm:prSet>
      <dgm:spPr>
        <a:xfrm>
          <a:off x="0" y="3338387"/>
          <a:ext cx="7568973" cy="935415"/>
        </a:xfrm>
        <a:prstGeom prst="roundRect">
          <a:avLst/>
        </a:prstGeom>
      </dgm:spPr>
    </dgm:pt>
    <dgm:pt modelId="{859294C6-48AA-456E-9414-CE007EF72D6C}" type="pres">
      <dgm:prSet presAssocID="{8CE255E6-648B-4E39-8946-708F6902E30E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B2916D1A-C4A6-4494-997B-7AD56B10FCA9}" srcId="{C944A454-24BC-4163-9654-0DEEB2FC401E}" destId="{1E7F2958-30AD-4EE3-BB2D-C81ADF0BBBBB}" srcOrd="0" destOrd="0" parTransId="{D4DD7E99-232D-4444-A3E3-276F6CD6220A}" sibTransId="{8D640941-3BB3-44BC-8D68-58B0E040BA0B}"/>
    <dgm:cxn modelId="{7D587E34-B64F-4877-8774-51FFC748B064}" srcId="{364C11FF-FD9D-4212-BB73-B5579B32FE9D}" destId="{C944A454-24BC-4163-9654-0DEEB2FC401E}" srcOrd="0" destOrd="0" parTransId="{3AC801C3-5D0A-40CB-B2E5-A227D204E5F0}" sibTransId="{7BA15534-1020-4482-BA53-4341E20AD7F0}"/>
    <dgm:cxn modelId="{53E60563-44A8-4959-B7B4-C7EA59CA1B07}" type="presOf" srcId="{8CE255E6-648B-4E39-8946-708F6902E30E}" destId="{988E6670-4AEA-4057-9AFA-3D11BCACC4CF}" srcOrd="0" destOrd="0" presId="urn:microsoft.com/office/officeart/2005/8/layout/vList2"/>
    <dgm:cxn modelId="{3CCFC167-B845-4010-A5E5-4458C5DF5884}" srcId="{BCDD8564-E13C-47DF-BEA3-C972D237080C}" destId="{B335BC4B-7952-4B9F-ADBA-DF66A83558D2}" srcOrd="0" destOrd="0" parTransId="{B4100FD8-51D5-4FB9-9945-DC3CED0B59C4}" sibTransId="{62ECBA6F-DC0E-44BB-9F91-9B4250FC6CC7}"/>
    <dgm:cxn modelId="{4299B96E-A34A-406E-97AB-EA9EC44AC46D}" type="presOf" srcId="{364C11FF-FD9D-4212-BB73-B5579B32FE9D}" destId="{45C5C427-BC8C-4C54-9115-125E6A650D26}" srcOrd="0" destOrd="0" presId="urn:microsoft.com/office/officeart/2005/8/layout/vList2"/>
    <dgm:cxn modelId="{4FA60152-ABEF-4611-86D5-A31CEE22EE74}" type="presOf" srcId="{B335BC4B-7952-4B9F-ADBA-DF66A83558D2}" destId="{B33DFCDC-03DD-4996-8402-87CCA88F0A24}" srcOrd="0" destOrd="0" presId="urn:microsoft.com/office/officeart/2005/8/layout/vList2"/>
    <dgm:cxn modelId="{F158B053-049B-487F-A3C3-E8DC0E7A280A}" type="presOf" srcId="{EE2E77FD-D5C6-426B-B826-7404C14D391E}" destId="{859294C6-48AA-456E-9414-CE007EF72D6C}" srcOrd="0" destOrd="0" presId="urn:microsoft.com/office/officeart/2005/8/layout/vList2"/>
    <dgm:cxn modelId="{DF529190-5C24-4ECA-9A8D-815E79CEA81A}" type="presOf" srcId="{BCDD8564-E13C-47DF-BEA3-C972D237080C}" destId="{F7290B78-ACBE-4728-B443-5B7962CD04F3}" srcOrd="0" destOrd="0" presId="urn:microsoft.com/office/officeart/2005/8/layout/vList2"/>
    <dgm:cxn modelId="{975CAB9C-878F-4C95-8537-1FA9D2F21CFF}" srcId="{8CE255E6-648B-4E39-8946-708F6902E30E}" destId="{EE2E77FD-D5C6-426B-B826-7404C14D391E}" srcOrd="0" destOrd="0" parTransId="{EE26B93F-E437-4065-A3D7-475F5434BC31}" sibTransId="{812E83B7-2AD5-4ADF-8C28-11985FD10A83}"/>
    <dgm:cxn modelId="{E90435A1-7442-40EA-AB09-26A91A3CF5F7}" srcId="{364C11FF-FD9D-4212-BB73-B5579B32FE9D}" destId="{BCDD8564-E13C-47DF-BEA3-C972D237080C}" srcOrd="1" destOrd="0" parTransId="{94E2BB1D-175F-4C71-9824-63919361BAFB}" sibTransId="{562AF66D-408F-4272-AA6C-279C23FC0A45}"/>
    <dgm:cxn modelId="{D6F088A8-FA4C-4BB5-A242-99651AE8A9F7}" type="presOf" srcId="{C944A454-24BC-4163-9654-0DEEB2FC401E}" destId="{E7F4688A-E129-4D40-93CC-4444A3527BFD}" srcOrd="0" destOrd="0" presId="urn:microsoft.com/office/officeart/2005/8/layout/vList2"/>
    <dgm:cxn modelId="{12EF46EA-A08C-4931-AEF7-FF725F430B0D}" srcId="{364C11FF-FD9D-4212-BB73-B5579B32FE9D}" destId="{8CE255E6-648B-4E39-8946-708F6902E30E}" srcOrd="2" destOrd="0" parTransId="{537EA732-56F9-4DFD-851C-16BA8ADD9935}" sibTransId="{9FCEF48D-21B6-4276-ADBA-4E0EAE1C0C9A}"/>
    <dgm:cxn modelId="{BFA92BF8-07BC-41E1-A781-E89679845441}" type="presOf" srcId="{1E7F2958-30AD-4EE3-BB2D-C81ADF0BBBBB}" destId="{6030D4D0-E4F8-4984-9B7D-E22687DE4820}" srcOrd="0" destOrd="0" presId="urn:microsoft.com/office/officeart/2005/8/layout/vList2"/>
    <dgm:cxn modelId="{455AE2CB-187D-47B5-91A1-C884CF0FEF85}" type="presParOf" srcId="{45C5C427-BC8C-4C54-9115-125E6A650D26}" destId="{E7F4688A-E129-4D40-93CC-4444A3527BFD}" srcOrd="0" destOrd="0" presId="urn:microsoft.com/office/officeart/2005/8/layout/vList2"/>
    <dgm:cxn modelId="{5D72AA62-1459-4A96-9F68-5A46F12C07E1}" type="presParOf" srcId="{45C5C427-BC8C-4C54-9115-125E6A650D26}" destId="{6030D4D0-E4F8-4984-9B7D-E22687DE4820}" srcOrd="1" destOrd="0" presId="urn:microsoft.com/office/officeart/2005/8/layout/vList2"/>
    <dgm:cxn modelId="{4136A96D-4A18-4DFC-9965-EE642824C15B}" type="presParOf" srcId="{45C5C427-BC8C-4C54-9115-125E6A650D26}" destId="{F7290B78-ACBE-4728-B443-5B7962CD04F3}" srcOrd="2" destOrd="0" presId="urn:microsoft.com/office/officeart/2005/8/layout/vList2"/>
    <dgm:cxn modelId="{B704A678-2732-46E3-BCCA-D58862D0A2F5}" type="presParOf" srcId="{45C5C427-BC8C-4C54-9115-125E6A650D26}" destId="{B33DFCDC-03DD-4996-8402-87CCA88F0A24}" srcOrd="3" destOrd="0" presId="urn:microsoft.com/office/officeart/2005/8/layout/vList2"/>
    <dgm:cxn modelId="{4A5ABAE2-A858-4EF2-81D3-191A41B8FE02}" type="presParOf" srcId="{45C5C427-BC8C-4C54-9115-125E6A650D26}" destId="{988E6670-4AEA-4057-9AFA-3D11BCACC4CF}" srcOrd="4" destOrd="0" presId="urn:microsoft.com/office/officeart/2005/8/layout/vList2"/>
    <dgm:cxn modelId="{611AECAF-AC96-4016-80D4-2DE845BF810F}" type="presParOf" srcId="{45C5C427-BC8C-4C54-9115-125E6A650D26}" destId="{859294C6-48AA-456E-9414-CE007EF72D6C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64C11FF-FD9D-4212-BB73-B5579B32FE9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C944A454-24BC-4163-9654-0DEEB2FC401E}">
      <dgm:prSet phldrT="[Testo]"/>
      <dgm:spPr>
        <a:solidFill>
          <a:schemeClr val="tx1"/>
        </a:solidFill>
      </dgm:spPr>
      <dgm:t>
        <a:bodyPr/>
        <a:lstStyle/>
        <a:p>
          <a:r>
            <a:rPr lang="it-IT" dirty="0"/>
            <a:t>1. Risparmiare </a:t>
          </a:r>
        </a:p>
      </dgm:t>
    </dgm:pt>
    <dgm:pt modelId="{3AC801C3-5D0A-40CB-B2E5-A227D204E5F0}" type="parTrans" cxnId="{7D587E34-B64F-4877-8774-51FFC748B064}">
      <dgm:prSet/>
      <dgm:spPr/>
      <dgm:t>
        <a:bodyPr/>
        <a:lstStyle/>
        <a:p>
          <a:endParaRPr lang="it-IT"/>
        </a:p>
      </dgm:t>
    </dgm:pt>
    <dgm:pt modelId="{7BA15534-1020-4482-BA53-4341E20AD7F0}" type="sibTrans" cxnId="{7D587E34-B64F-4877-8774-51FFC748B064}">
      <dgm:prSet/>
      <dgm:spPr/>
      <dgm:t>
        <a:bodyPr/>
        <a:lstStyle/>
        <a:p>
          <a:endParaRPr lang="it-IT"/>
        </a:p>
      </dgm:t>
    </dgm:pt>
    <dgm:pt modelId="{1E7F2958-30AD-4EE3-BB2D-C81ADF0BBBBB}">
      <dgm:prSet phldrT="[Testo]"/>
      <dgm:spPr/>
      <dgm:t>
        <a:bodyPr/>
        <a:lstStyle/>
        <a:p>
          <a:r>
            <a:rPr lang="it-IT" b="1" dirty="0"/>
            <a:t>Sfrutta le convenzioni </a:t>
          </a:r>
          <a:r>
            <a:rPr lang="it-IT" dirty="0"/>
            <a:t>del network</a:t>
          </a:r>
        </a:p>
      </dgm:t>
    </dgm:pt>
    <dgm:pt modelId="{D4DD7E99-232D-4444-A3E3-276F6CD6220A}" type="parTrans" cxnId="{B2916D1A-C4A6-4494-997B-7AD56B10FCA9}">
      <dgm:prSet/>
      <dgm:spPr/>
      <dgm:t>
        <a:bodyPr/>
        <a:lstStyle/>
        <a:p>
          <a:endParaRPr lang="it-IT"/>
        </a:p>
      </dgm:t>
    </dgm:pt>
    <dgm:pt modelId="{8D640941-3BB3-44BC-8D68-58B0E040BA0B}" type="sibTrans" cxnId="{B2916D1A-C4A6-4494-997B-7AD56B10FCA9}">
      <dgm:prSet/>
      <dgm:spPr/>
      <dgm:t>
        <a:bodyPr/>
        <a:lstStyle/>
        <a:p>
          <a:endParaRPr lang="it-IT"/>
        </a:p>
      </dgm:t>
    </dgm:pt>
    <dgm:pt modelId="{BCDD8564-E13C-47DF-BEA3-C972D237080C}">
      <dgm:prSet phldrT="[Testo]"/>
      <dgm:spPr>
        <a:solidFill>
          <a:schemeClr val="tx1"/>
        </a:solidFill>
      </dgm:spPr>
      <dgm:t>
        <a:bodyPr/>
        <a:lstStyle/>
        <a:p>
          <a:r>
            <a:rPr lang="it-IT" dirty="0"/>
            <a:t>2. Formazione</a:t>
          </a:r>
        </a:p>
      </dgm:t>
    </dgm:pt>
    <dgm:pt modelId="{94E2BB1D-175F-4C71-9824-63919361BAFB}" type="parTrans" cxnId="{E90435A1-7442-40EA-AB09-26A91A3CF5F7}">
      <dgm:prSet/>
      <dgm:spPr/>
      <dgm:t>
        <a:bodyPr/>
        <a:lstStyle/>
        <a:p>
          <a:endParaRPr lang="it-IT"/>
        </a:p>
      </dgm:t>
    </dgm:pt>
    <dgm:pt modelId="{562AF66D-408F-4272-AA6C-279C23FC0A45}" type="sibTrans" cxnId="{E90435A1-7442-40EA-AB09-26A91A3CF5F7}">
      <dgm:prSet/>
      <dgm:spPr/>
      <dgm:t>
        <a:bodyPr/>
        <a:lstStyle/>
        <a:p>
          <a:endParaRPr lang="it-IT"/>
        </a:p>
      </dgm:t>
    </dgm:pt>
    <dgm:pt modelId="{B335BC4B-7952-4B9F-ADBA-DF66A83558D2}">
      <dgm:prSet phldrT="[Testo]"/>
      <dgm:spPr/>
      <dgm:t>
        <a:bodyPr/>
        <a:lstStyle/>
        <a:p>
          <a:r>
            <a:rPr lang="it-IT" b="1" dirty="0"/>
            <a:t>Risparmia </a:t>
          </a:r>
          <a:r>
            <a:rPr lang="it-IT" dirty="0"/>
            <a:t>per accrescere le competenze</a:t>
          </a:r>
        </a:p>
      </dgm:t>
    </dgm:pt>
    <dgm:pt modelId="{B4100FD8-51D5-4FB9-9945-DC3CED0B59C4}" type="parTrans" cxnId="{3CCFC167-B845-4010-A5E5-4458C5DF5884}">
      <dgm:prSet/>
      <dgm:spPr/>
      <dgm:t>
        <a:bodyPr/>
        <a:lstStyle/>
        <a:p>
          <a:endParaRPr lang="it-IT"/>
        </a:p>
      </dgm:t>
    </dgm:pt>
    <dgm:pt modelId="{62ECBA6F-DC0E-44BB-9F91-9B4250FC6CC7}" type="sibTrans" cxnId="{3CCFC167-B845-4010-A5E5-4458C5DF5884}">
      <dgm:prSet/>
      <dgm:spPr/>
      <dgm:t>
        <a:bodyPr/>
        <a:lstStyle/>
        <a:p>
          <a:endParaRPr lang="it-IT"/>
        </a:p>
      </dgm:t>
    </dgm:pt>
    <dgm:pt modelId="{8CE255E6-648B-4E39-8946-708F6902E30E}">
      <dgm:prSet phldrT="[Testo]" custT="1"/>
      <dgm:spPr>
        <a:solidFill>
          <a:srgbClr val="0050AA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148590" tIns="148590" rIns="148590" bIns="148590" numCol="1" spcCol="1270" anchor="ctr" anchorCtr="0"/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>
              <a:solidFill>
                <a:prstClr val="white"/>
              </a:solidFill>
              <a:latin typeface="Lidl Font Pro"/>
              <a:ea typeface="+mn-ea"/>
              <a:cs typeface="+mn-cs"/>
            </a:rPr>
            <a:t>3. Convenzioni</a:t>
          </a:r>
        </a:p>
      </dgm:t>
    </dgm:pt>
    <dgm:pt modelId="{537EA732-56F9-4DFD-851C-16BA8ADD9935}" type="parTrans" cxnId="{12EF46EA-A08C-4931-AEF7-FF725F430B0D}">
      <dgm:prSet/>
      <dgm:spPr/>
      <dgm:t>
        <a:bodyPr/>
        <a:lstStyle/>
        <a:p>
          <a:endParaRPr lang="it-IT"/>
        </a:p>
      </dgm:t>
    </dgm:pt>
    <dgm:pt modelId="{9FCEF48D-21B6-4276-ADBA-4E0EAE1C0C9A}" type="sibTrans" cxnId="{12EF46EA-A08C-4931-AEF7-FF725F430B0D}">
      <dgm:prSet/>
      <dgm:spPr/>
      <dgm:t>
        <a:bodyPr/>
        <a:lstStyle/>
        <a:p>
          <a:endParaRPr lang="it-IT"/>
        </a:p>
      </dgm:t>
    </dgm:pt>
    <dgm:pt modelId="{EE2E77FD-D5C6-426B-B826-7404C14D391E}">
      <dgm:prSet phldrT="[Testo]"/>
      <dgm:spPr/>
      <dgm:t>
        <a:bodyPr/>
        <a:lstStyle/>
        <a:p>
          <a:r>
            <a:rPr lang="it-IT" b="1" dirty="0"/>
            <a:t>Sfrutta le potenzialità </a:t>
          </a:r>
          <a:r>
            <a:rPr lang="it-IT" dirty="0"/>
            <a:t>del network</a:t>
          </a:r>
        </a:p>
      </dgm:t>
    </dgm:pt>
    <dgm:pt modelId="{EE26B93F-E437-4065-A3D7-475F5434BC31}" type="parTrans" cxnId="{975CAB9C-878F-4C95-8537-1FA9D2F21CFF}">
      <dgm:prSet/>
      <dgm:spPr/>
      <dgm:t>
        <a:bodyPr/>
        <a:lstStyle/>
        <a:p>
          <a:endParaRPr lang="it-IT"/>
        </a:p>
      </dgm:t>
    </dgm:pt>
    <dgm:pt modelId="{812E83B7-2AD5-4ADF-8C28-11985FD10A83}" type="sibTrans" cxnId="{975CAB9C-878F-4C95-8537-1FA9D2F21CFF}">
      <dgm:prSet/>
      <dgm:spPr/>
      <dgm:t>
        <a:bodyPr/>
        <a:lstStyle/>
        <a:p>
          <a:endParaRPr lang="it-IT"/>
        </a:p>
      </dgm:t>
    </dgm:pt>
    <dgm:pt modelId="{45C5C427-BC8C-4C54-9115-125E6A650D26}" type="pres">
      <dgm:prSet presAssocID="{364C11FF-FD9D-4212-BB73-B5579B32FE9D}" presName="linear" presStyleCnt="0">
        <dgm:presLayoutVars>
          <dgm:animLvl val="lvl"/>
          <dgm:resizeHandles val="exact"/>
        </dgm:presLayoutVars>
      </dgm:prSet>
      <dgm:spPr/>
    </dgm:pt>
    <dgm:pt modelId="{E7F4688A-E129-4D40-93CC-4444A3527BFD}" type="pres">
      <dgm:prSet presAssocID="{C944A454-24BC-4163-9654-0DEEB2FC401E}" presName="parentText" presStyleLbl="node1" presStyleIdx="0" presStyleCnt="3" custLinFactNeighborX="28019">
        <dgm:presLayoutVars>
          <dgm:chMax val="0"/>
          <dgm:bulletEnabled val="1"/>
        </dgm:presLayoutVars>
      </dgm:prSet>
      <dgm:spPr/>
    </dgm:pt>
    <dgm:pt modelId="{6030D4D0-E4F8-4984-9B7D-E22687DE4820}" type="pres">
      <dgm:prSet presAssocID="{C944A454-24BC-4163-9654-0DEEB2FC401E}" presName="childText" presStyleLbl="revTx" presStyleIdx="0" presStyleCnt="3">
        <dgm:presLayoutVars>
          <dgm:bulletEnabled val="1"/>
        </dgm:presLayoutVars>
      </dgm:prSet>
      <dgm:spPr/>
    </dgm:pt>
    <dgm:pt modelId="{F7290B78-ACBE-4728-B443-5B7962CD04F3}" type="pres">
      <dgm:prSet presAssocID="{BCDD8564-E13C-47DF-BEA3-C972D237080C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B33DFCDC-03DD-4996-8402-87CCA88F0A24}" type="pres">
      <dgm:prSet presAssocID="{BCDD8564-E13C-47DF-BEA3-C972D237080C}" presName="childText" presStyleLbl="revTx" presStyleIdx="1" presStyleCnt="3">
        <dgm:presLayoutVars>
          <dgm:bulletEnabled val="1"/>
        </dgm:presLayoutVars>
      </dgm:prSet>
      <dgm:spPr/>
    </dgm:pt>
    <dgm:pt modelId="{988E6670-4AEA-4057-9AFA-3D11BCACC4CF}" type="pres">
      <dgm:prSet presAssocID="{8CE255E6-648B-4E39-8946-708F6902E30E}" presName="parentText" presStyleLbl="node1" presStyleIdx="2" presStyleCnt="3">
        <dgm:presLayoutVars>
          <dgm:chMax val="0"/>
          <dgm:bulletEnabled val="1"/>
        </dgm:presLayoutVars>
      </dgm:prSet>
      <dgm:spPr>
        <a:xfrm>
          <a:off x="0" y="3338387"/>
          <a:ext cx="7568973" cy="935415"/>
        </a:xfrm>
        <a:prstGeom prst="roundRect">
          <a:avLst/>
        </a:prstGeom>
      </dgm:spPr>
    </dgm:pt>
    <dgm:pt modelId="{859294C6-48AA-456E-9414-CE007EF72D6C}" type="pres">
      <dgm:prSet presAssocID="{8CE255E6-648B-4E39-8946-708F6902E30E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B2916D1A-C4A6-4494-997B-7AD56B10FCA9}" srcId="{C944A454-24BC-4163-9654-0DEEB2FC401E}" destId="{1E7F2958-30AD-4EE3-BB2D-C81ADF0BBBBB}" srcOrd="0" destOrd="0" parTransId="{D4DD7E99-232D-4444-A3E3-276F6CD6220A}" sibTransId="{8D640941-3BB3-44BC-8D68-58B0E040BA0B}"/>
    <dgm:cxn modelId="{7D587E34-B64F-4877-8774-51FFC748B064}" srcId="{364C11FF-FD9D-4212-BB73-B5579B32FE9D}" destId="{C944A454-24BC-4163-9654-0DEEB2FC401E}" srcOrd="0" destOrd="0" parTransId="{3AC801C3-5D0A-40CB-B2E5-A227D204E5F0}" sibTransId="{7BA15534-1020-4482-BA53-4341E20AD7F0}"/>
    <dgm:cxn modelId="{53E60563-44A8-4959-B7B4-C7EA59CA1B07}" type="presOf" srcId="{8CE255E6-648B-4E39-8946-708F6902E30E}" destId="{988E6670-4AEA-4057-9AFA-3D11BCACC4CF}" srcOrd="0" destOrd="0" presId="urn:microsoft.com/office/officeart/2005/8/layout/vList2"/>
    <dgm:cxn modelId="{3CCFC167-B845-4010-A5E5-4458C5DF5884}" srcId="{BCDD8564-E13C-47DF-BEA3-C972D237080C}" destId="{B335BC4B-7952-4B9F-ADBA-DF66A83558D2}" srcOrd="0" destOrd="0" parTransId="{B4100FD8-51D5-4FB9-9945-DC3CED0B59C4}" sibTransId="{62ECBA6F-DC0E-44BB-9F91-9B4250FC6CC7}"/>
    <dgm:cxn modelId="{4299B96E-A34A-406E-97AB-EA9EC44AC46D}" type="presOf" srcId="{364C11FF-FD9D-4212-BB73-B5579B32FE9D}" destId="{45C5C427-BC8C-4C54-9115-125E6A650D26}" srcOrd="0" destOrd="0" presId="urn:microsoft.com/office/officeart/2005/8/layout/vList2"/>
    <dgm:cxn modelId="{4FA60152-ABEF-4611-86D5-A31CEE22EE74}" type="presOf" srcId="{B335BC4B-7952-4B9F-ADBA-DF66A83558D2}" destId="{B33DFCDC-03DD-4996-8402-87CCA88F0A24}" srcOrd="0" destOrd="0" presId="urn:microsoft.com/office/officeart/2005/8/layout/vList2"/>
    <dgm:cxn modelId="{F158B053-049B-487F-A3C3-E8DC0E7A280A}" type="presOf" srcId="{EE2E77FD-D5C6-426B-B826-7404C14D391E}" destId="{859294C6-48AA-456E-9414-CE007EF72D6C}" srcOrd="0" destOrd="0" presId="urn:microsoft.com/office/officeart/2005/8/layout/vList2"/>
    <dgm:cxn modelId="{DF529190-5C24-4ECA-9A8D-815E79CEA81A}" type="presOf" srcId="{BCDD8564-E13C-47DF-BEA3-C972D237080C}" destId="{F7290B78-ACBE-4728-B443-5B7962CD04F3}" srcOrd="0" destOrd="0" presId="urn:microsoft.com/office/officeart/2005/8/layout/vList2"/>
    <dgm:cxn modelId="{975CAB9C-878F-4C95-8537-1FA9D2F21CFF}" srcId="{8CE255E6-648B-4E39-8946-708F6902E30E}" destId="{EE2E77FD-D5C6-426B-B826-7404C14D391E}" srcOrd="0" destOrd="0" parTransId="{EE26B93F-E437-4065-A3D7-475F5434BC31}" sibTransId="{812E83B7-2AD5-4ADF-8C28-11985FD10A83}"/>
    <dgm:cxn modelId="{E90435A1-7442-40EA-AB09-26A91A3CF5F7}" srcId="{364C11FF-FD9D-4212-BB73-B5579B32FE9D}" destId="{BCDD8564-E13C-47DF-BEA3-C972D237080C}" srcOrd="1" destOrd="0" parTransId="{94E2BB1D-175F-4C71-9824-63919361BAFB}" sibTransId="{562AF66D-408F-4272-AA6C-279C23FC0A45}"/>
    <dgm:cxn modelId="{D6F088A8-FA4C-4BB5-A242-99651AE8A9F7}" type="presOf" srcId="{C944A454-24BC-4163-9654-0DEEB2FC401E}" destId="{E7F4688A-E129-4D40-93CC-4444A3527BFD}" srcOrd="0" destOrd="0" presId="urn:microsoft.com/office/officeart/2005/8/layout/vList2"/>
    <dgm:cxn modelId="{12EF46EA-A08C-4931-AEF7-FF725F430B0D}" srcId="{364C11FF-FD9D-4212-BB73-B5579B32FE9D}" destId="{8CE255E6-648B-4E39-8946-708F6902E30E}" srcOrd="2" destOrd="0" parTransId="{537EA732-56F9-4DFD-851C-16BA8ADD9935}" sibTransId="{9FCEF48D-21B6-4276-ADBA-4E0EAE1C0C9A}"/>
    <dgm:cxn modelId="{BFA92BF8-07BC-41E1-A781-E89679845441}" type="presOf" srcId="{1E7F2958-30AD-4EE3-BB2D-C81ADF0BBBBB}" destId="{6030D4D0-E4F8-4984-9B7D-E22687DE4820}" srcOrd="0" destOrd="0" presId="urn:microsoft.com/office/officeart/2005/8/layout/vList2"/>
    <dgm:cxn modelId="{455AE2CB-187D-47B5-91A1-C884CF0FEF85}" type="presParOf" srcId="{45C5C427-BC8C-4C54-9115-125E6A650D26}" destId="{E7F4688A-E129-4D40-93CC-4444A3527BFD}" srcOrd="0" destOrd="0" presId="urn:microsoft.com/office/officeart/2005/8/layout/vList2"/>
    <dgm:cxn modelId="{5D72AA62-1459-4A96-9F68-5A46F12C07E1}" type="presParOf" srcId="{45C5C427-BC8C-4C54-9115-125E6A650D26}" destId="{6030D4D0-E4F8-4984-9B7D-E22687DE4820}" srcOrd="1" destOrd="0" presId="urn:microsoft.com/office/officeart/2005/8/layout/vList2"/>
    <dgm:cxn modelId="{4136A96D-4A18-4DFC-9965-EE642824C15B}" type="presParOf" srcId="{45C5C427-BC8C-4C54-9115-125E6A650D26}" destId="{F7290B78-ACBE-4728-B443-5B7962CD04F3}" srcOrd="2" destOrd="0" presId="urn:microsoft.com/office/officeart/2005/8/layout/vList2"/>
    <dgm:cxn modelId="{B704A678-2732-46E3-BCCA-D58862D0A2F5}" type="presParOf" srcId="{45C5C427-BC8C-4C54-9115-125E6A650D26}" destId="{B33DFCDC-03DD-4996-8402-87CCA88F0A24}" srcOrd="3" destOrd="0" presId="urn:microsoft.com/office/officeart/2005/8/layout/vList2"/>
    <dgm:cxn modelId="{4A5ABAE2-A858-4EF2-81D3-191A41B8FE02}" type="presParOf" srcId="{45C5C427-BC8C-4C54-9115-125E6A650D26}" destId="{988E6670-4AEA-4057-9AFA-3D11BCACC4CF}" srcOrd="4" destOrd="0" presId="urn:microsoft.com/office/officeart/2005/8/layout/vList2"/>
    <dgm:cxn modelId="{611AECAF-AC96-4016-80D4-2DE845BF810F}" type="presParOf" srcId="{45C5C427-BC8C-4C54-9115-125E6A650D26}" destId="{859294C6-48AA-456E-9414-CE007EF72D6C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64C11FF-FD9D-4212-BB73-B5579B32FE9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C944A454-24BC-4163-9654-0DEEB2FC401E}">
      <dgm:prSet phldrT="[Testo]"/>
      <dgm:spPr>
        <a:solidFill>
          <a:schemeClr val="tx1"/>
        </a:solidFill>
      </dgm:spPr>
      <dgm:t>
        <a:bodyPr/>
        <a:lstStyle/>
        <a:p>
          <a:r>
            <a:rPr lang="it-IT" dirty="0"/>
            <a:t>1. Risparmiare </a:t>
          </a:r>
        </a:p>
      </dgm:t>
    </dgm:pt>
    <dgm:pt modelId="{3AC801C3-5D0A-40CB-B2E5-A227D204E5F0}" type="parTrans" cxnId="{7D587E34-B64F-4877-8774-51FFC748B064}">
      <dgm:prSet/>
      <dgm:spPr/>
      <dgm:t>
        <a:bodyPr/>
        <a:lstStyle/>
        <a:p>
          <a:endParaRPr lang="it-IT"/>
        </a:p>
      </dgm:t>
    </dgm:pt>
    <dgm:pt modelId="{7BA15534-1020-4482-BA53-4341E20AD7F0}" type="sibTrans" cxnId="{7D587E34-B64F-4877-8774-51FFC748B064}">
      <dgm:prSet/>
      <dgm:spPr/>
      <dgm:t>
        <a:bodyPr/>
        <a:lstStyle/>
        <a:p>
          <a:endParaRPr lang="it-IT"/>
        </a:p>
      </dgm:t>
    </dgm:pt>
    <dgm:pt modelId="{1E7F2958-30AD-4EE3-BB2D-C81ADF0BBBBB}">
      <dgm:prSet phldrT="[Testo]"/>
      <dgm:spPr/>
      <dgm:t>
        <a:bodyPr/>
        <a:lstStyle/>
        <a:p>
          <a:r>
            <a:rPr lang="it-IT" b="1" dirty="0"/>
            <a:t>Sfrutta le convenzioni </a:t>
          </a:r>
          <a:r>
            <a:rPr lang="it-IT" dirty="0"/>
            <a:t>del network</a:t>
          </a:r>
        </a:p>
      </dgm:t>
    </dgm:pt>
    <dgm:pt modelId="{D4DD7E99-232D-4444-A3E3-276F6CD6220A}" type="parTrans" cxnId="{B2916D1A-C4A6-4494-997B-7AD56B10FCA9}">
      <dgm:prSet/>
      <dgm:spPr/>
      <dgm:t>
        <a:bodyPr/>
        <a:lstStyle/>
        <a:p>
          <a:endParaRPr lang="it-IT"/>
        </a:p>
      </dgm:t>
    </dgm:pt>
    <dgm:pt modelId="{8D640941-3BB3-44BC-8D68-58B0E040BA0B}" type="sibTrans" cxnId="{B2916D1A-C4A6-4494-997B-7AD56B10FCA9}">
      <dgm:prSet/>
      <dgm:spPr/>
      <dgm:t>
        <a:bodyPr/>
        <a:lstStyle/>
        <a:p>
          <a:endParaRPr lang="it-IT"/>
        </a:p>
      </dgm:t>
    </dgm:pt>
    <dgm:pt modelId="{BCDD8564-E13C-47DF-BEA3-C972D237080C}">
      <dgm:prSet phldrT="[Testo]"/>
      <dgm:spPr>
        <a:solidFill>
          <a:schemeClr val="tx1"/>
        </a:solidFill>
      </dgm:spPr>
      <dgm:t>
        <a:bodyPr/>
        <a:lstStyle/>
        <a:p>
          <a:r>
            <a:rPr lang="it-IT" dirty="0"/>
            <a:t>2. Formazione</a:t>
          </a:r>
        </a:p>
      </dgm:t>
    </dgm:pt>
    <dgm:pt modelId="{94E2BB1D-175F-4C71-9824-63919361BAFB}" type="parTrans" cxnId="{E90435A1-7442-40EA-AB09-26A91A3CF5F7}">
      <dgm:prSet/>
      <dgm:spPr/>
      <dgm:t>
        <a:bodyPr/>
        <a:lstStyle/>
        <a:p>
          <a:endParaRPr lang="it-IT"/>
        </a:p>
      </dgm:t>
    </dgm:pt>
    <dgm:pt modelId="{562AF66D-408F-4272-AA6C-279C23FC0A45}" type="sibTrans" cxnId="{E90435A1-7442-40EA-AB09-26A91A3CF5F7}">
      <dgm:prSet/>
      <dgm:spPr/>
      <dgm:t>
        <a:bodyPr/>
        <a:lstStyle/>
        <a:p>
          <a:endParaRPr lang="it-IT"/>
        </a:p>
      </dgm:t>
    </dgm:pt>
    <dgm:pt modelId="{B335BC4B-7952-4B9F-ADBA-DF66A83558D2}">
      <dgm:prSet phldrT="[Testo]"/>
      <dgm:spPr/>
      <dgm:t>
        <a:bodyPr/>
        <a:lstStyle/>
        <a:p>
          <a:r>
            <a:rPr lang="it-IT" b="1" dirty="0"/>
            <a:t>Risparmia </a:t>
          </a:r>
          <a:r>
            <a:rPr lang="it-IT" dirty="0"/>
            <a:t>per accrescere le competenze</a:t>
          </a:r>
        </a:p>
      </dgm:t>
    </dgm:pt>
    <dgm:pt modelId="{B4100FD8-51D5-4FB9-9945-DC3CED0B59C4}" type="parTrans" cxnId="{3CCFC167-B845-4010-A5E5-4458C5DF5884}">
      <dgm:prSet/>
      <dgm:spPr/>
      <dgm:t>
        <a:bodyPr/>
        <a:lstStyle/>
        <a:p>
          <a:endParaRPr lang="it-IT"/>
        </a:p>
      </dgm:t>
    </dgm:pt>
    <dgm:pt modelId="{62ECBA6F-DC0E-44BB-9F91-9B4250FC6CC7}" type="sibTrans" cxnId="{3CCFC167-B845-4010-A5E5-4458C5DF5884}">
      <dgm:prSet/>
      <dgm:spPr/>
      <dgm:t>
        <a:bodyPr/>
        <a:lstStyle/>
        <a:p>
          <a:endParaRPr lang="it-IT"/>
        </a:p>
      </dgm:t>
    </dgm:pt>
    <dgm:pt modelId="{8CE255E6-648B-4E39-8946-708F6902E30E}">
      <dgm:prSet phldrT="[Testo]" custT="1"/>
      <dgm:spPr>
        <a:solidFill>
          <a:srgbClr val="0050AA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148590" tIns="148590" rIns="148590" bIns="148590" numCol="1" spcCol="1270" anchor="ctr" anchorCtr="0"/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>
              <a:solidFill>
                <a:prstClr val="white"/>
              </a:solidFill>
              <a:latin typeface="Lidl Font Pro"/>
              <a:ea typeface="+mn-ea"/>
              <a:cs typeface="+mn-cs"/>
            </a:rPr>
            <a:t>3. Convenzioni</a:t>
          </a:r>
        </a:p>
      </dgm:t>
    </dgm:pt>
    <dgm:pt modelId="{537EA732-56F9-4DFD-851C-16BA8ADD9935}" type="parTrans" cxnId="{12EF46EA-A08C-4931-AEF7-FF725F430B0D}">
      <dgm:prSet/>
      <dgm:spPr/>
      <dgm:t>
        <a:bodyPr/>
        <a:lstStyle/>
        <a:p>
          <a:endParaRPr lang="it-IT"/>
        </a:p>
      </dgm:t>
    </dgm:pt>
    <dgm:pt modelId="{9FCEF48D-21B6-4276-ADBA-4E0EAE1C0C9A}" type="sibTrans" cxnId="{12EF46EA-A08C-4931-AEF7-FF725F430B0D}">
      <dgm:prSet/>
      <dgm:spPr/>
      <dgm:t>
        <a:bodyPr/>
        <a:lstStyle/>
        <a:p>
          <a:endParaRPr lang="it-IT"/>
        </a:p>
      </dgm:t>
    </dgm:pt>
    <dgm:pt modelId="{EE2E77FD-D5C6-426B-B826-7404C14D391E}">
      <dgm:prSet phldrT="[Testo]"/>
      <dgm:spPr/>
      <dgm:t>
        <a:bodyPr/>
        <a:lstStyle/>
        <a:p>
          <a:r>
            <a:rPr lang="it-IT" b="1" dirty="0"/>
            <a:t>Sfrutta le potenzialità </a:t>
          </a:r>
          <a:r>
            <a:rPr lang="it-IT" dirty="0"/>
            <a:t>del network</a:t>
          </a:r>
        </a:p>
      </dgm:t>
    </dgm:pt>
    <dgm:pt modelId="{EE26B93F-E437-4065-A3D7-475F5434BC31}" type="parTrans" cxnId="{975CAB9C-878F-4C95-8537-1FA9D2F21CFF}">
      <dgm:prSet/>
      <dgm:spPr/>
      <dgm:t>
        <a:bodyPr/>
        <a:lstStyle/>
        <a:p>
          <a:endParaRPr lang="it-IT"/>
        </a:p>
      </dgm:t>
    </dgm:pt>
    <dgm:pt modelId="{812E83B7-2AD5-4ADF-8C28-11985FD10A83}" type="sibTrans" cxnId="{975CAB9C-878F-4C95-8537-1FA9D2F21CFF}">
      <dgm:prSet/>
      <dgm:spPr/>
      <dgm:t>
        <a:bodyPr/>
        <a:lstStyle/>
        <a:p>
          <a:endParaRPr lang="it-IT"/>
        </a:p>
      </dgm:t>
    </dgm:pt>
    <dgm:pt modelId="{45C5C427-BC8C-4C54-9115-125E6A650D26}" type="pres">
      <dgm:prSet presAssocID="{364C11FF-FD9D-4212-BB73-B5579B32FE9D}" presName="linear" presStyleCnt="0">
        <dgm:presLayoutVars>
          <dgm:animLvl val="lvl"/>
          <dgm:resizeHandles val="exact"/>
        </dgm:presLayoutVars>
      </dgm:prSet>
      <dgm:spPr/>
    </dgm:pt>
    <dgm:pt modelId="{E7F4688A-E129-4D40-93CC-4444A3527BFD}" type="pres">
      <dgm:prSet presAssocID="{C944A454-24BC-4163-9654-0DEEB2FC401E}" presName="parentText" presStyleLbl="node1" presStyleIdx="0" presStyleCnt="3" custLinFactNeighborX="28019">
        <dgm:presLayoutVars>
          <dgm:chMax val="0"/>
          <dgm:bulletEnabled val="1"/>
        </dgm:presLayoutVars>
      </dgm:prSet>
      <dgm:spPr/>
    </dgm:pt>
    <dgm:pt modelId="{6030D4D0-E4F8-4984-9B7D-E22687DE4820}" type="pres">
      <dgm:prSet presAssocID="{C944A454-24BC-4163-9654-0DEEB2FC401E}" presName="childText" presStyleLbl="revTx" presStyleIdx="0" presStyleCnt="3">
        <dgm:presLayoutVars>
          <dgm:bulletEnabled val="1"/>
        </dgm:presLayoutVars>
      </dgm:prSet>
      <dgm:spPr/>
    </dgm:pt>
    <dgm:pt modelId="{F7290B78-ACBE-4728-B443-5B7962CD04F3}" type="pres">
      <dgm:prSet presAssocID="{BCDD8564-E13C-47DF-BEA3-C972D237080C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B33DFCDC-03DD-4996-8402-87CCA88F0A24}" type="pres">
      <dgm:prSet presAssocID="{BCDD8564-E13C-47DF-BEA3-C972D237080C}" presName="childText" presStyleLbl="revTx" presStyleIdx="1" presStyleCnt="3">
        <dgm:presLayoutVars>
          <dgm:bulletEnabled val="1"/>
        </dgm:presLayoutVars>
      </dgm:prSet>
      <dgm:spPr/>
    </dgm:pt>
    <dgm:pt modelId="{988E6670-4AEA-4057-9AFA-3D11BCACC4CF}" type="pres">
      <dgm:prSet presAssocID="{8CE255E6-648B-4E39-8946-708F6902E30E}" presName="parentText" presStyleLbl="node1" presStyleIdx="2" presStyleCnt="3">
        <dgm:presLayoutVars>
          <dgm:chMax val="0"/>
          <dgm:bulletEnabled val="1"/>
        </dgm:presLayoutVars>
      </dgm:prSet>
      <dgm:spPr>
        <a:xfrm>
          <a:off x="0" y="3338387"/>
          <a:ext cx="7568973" cy="935415"/>
        </a:xfrm>
        <a:prstGeom prst="roundRect">
          <a:avLst/>
        </a:prstGeom>
      </dgm:spPr>
    </dgm:pt>
    <dgm:pt modelId="{859294C6-48AA-456E-9414-CE007EF72D6C}" type="pres">
      <dgm:prSet presAssocID="{8CE255E6-648B-4E39-8946-708F6902E30E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B2916D1A-C4A6-4494-997B-7AD56B10FCA9}" srcId="{C944A454-24BC-4163-9654-0DEEB2FC401E}" destId="{1E7F2958-30AD-4EE3-BB2D-C81ADF0BBBBB}" srcOrd="0" destOrd="0" parTransId="{D4DD7E99-232D-4444-A3E3-276F6CD6220A}" sibTransId="{8D640941-3BB3-44BC-8D68-58B0E040BA0B}"/>
    <dgm:cxn modelId="{7D587E34-B64F-4877-8774-51FFC748B064}" srcId="{364C11FF-FD9D-4212-BB73-B5579B32FE9D}" destId="{C944A454-24BC-4163-9654-0DEEB2FC401E}" srcOrd="0" destOrd="0" parTransId="{3AC801C3-5D0A-40CB-B2E5-A227D204E5F0}" sibTransId="{7BA15534-1020-4482-BA53-4341E20AD7F0}"/>
    <dgm:cxn modelId="{53E60563-44A8-4959-B7B4-C7EA59CA1B07}" type="presOf" srcId="{8CE255E6-648B-4E39-8946-708F6902E30E}" destId="{988E6670-4AEA-4057-9AFA-3D11BCACC4CF}" srcOrd="0" destOrd="0" presId="urn:microsoft.com/office/officeart/2005/8/layout/vList2"/>
    <dgm:cxn modelId="{3CCFC167-B845-4010-A5E5-4458C5DF5884}" srcId="{BCDD8564-E13C-47DF-BEA3-C972D237080C}" destId="{B335BC4B-7952-4B9F-ADBA-DF66A83558D2}" srcOrd="0" destOrd="0" parTransId="{B4100FD8-51D5-4FB9-9945-DC3CED0B59C4}" sibTransId="{62ECBA6F-DC0E-44BB-9F91-9B4250FC6CC7}"/>
    <dgm:cxn modelId="{4299B96E-A34A-406E-97AB-EA9EC44AC46D}" type="presOf" srcId="{364C11FF-FD9D-4212-BB73-B5579B32FE9D}" destId="{45C5C427-BC8C-4C54-9115-125E6A650D26}" srcOrd="0" destOrd="0" presId="urn:microsoft.com/office/officeart/2005/8/layout/vList2"/>
    <dgm:cxn modelId="{4FA60152-ABEF-4611-86D5-A31CEE22EE74}" type="presOf" srcId="{B335BC4B-7952-4B9F-ADBA-DF66A83558D2}" destId="{B33DFCDC-03DD-4996-8402-87CCA88F0A24}" srcOrd="0" destOrd="0" presId="urn:microsoft.com/office/officeart/2005/8/layout/vList2"/>
    <dgm:cxn modelId="{F158B053-049B-487F-A3C3-E8DC0E7A280A}" type="presOf" srcId="{EE2E77FD-D5C6-426B-B826-7404C14D391E}" destId="{859294C6-48AA-456E-9414-CE007EF72D6C}" srcOrd="0" destOrd="0" presId="urn:microsoft.com/office/officeart/2005/8/layout/vList2"/>
    <dgm:cxn modelId="{DF529190-5C24-4ECA-9A8D-815E79CEA81A}" type="presOf" srcId="{BCDD8564-E13C-47DF-BEA3-C972D237080C}" destId="{F7290B78-ACBE-4728-B443-5B7962CD04F3}" srcOrd="0" destOrd="0" presId="urn:microsoft.com/office/officeart/2005/8/layout/vList2"/>
    <dgm:cxn modelId="{975CAB9C-878F-4C95-8537-1FA9D2F21CFF}" srcId="{8CE255E6-648B-4E39-8946-708F6902E30E}" destId="{EE2E77FD-D5C6-426B-B826-7404C14D391E}" srcOrd="0" destOrd="0" parTransId="{EE26B93F-E437-4065-A3D7-475F5434BC31}" sibTransId="{812E83B7-2AD5-4ADF-8C28-11985FD10A83}"/>
    <dgm:cxn modelId="{E90435A1-7442-40EA-AB09-26A91A3CF5F7}" srcId="{364C11FF-FD9D-4212-BB73-B5579B32FE9D}" destId="{BCDD8564-E13C-47DF-BEA3-C972D237080C}" srcOrd="1" destOrd="0" parTransId="{94E2BB1D-175F-4C71-9824-63919361BAFB}" sibTransId="{562AF66D-408F-4272-AA6C-279C23FC0A45}"/>
    <dgm:cxn modelId="{D6F088A8-FA4C-4BB5-A242-99651AE8A9F7}" type="presOf" srcId="{C944A454-24BC-4163-9654-0DEEB2FC401E}" destId="{E7F4688A-E129-4D40-93CC-4444A3527BFD}" srcOrd="0" destOrd="0" presId="urn:microsoft.com/office/officeart/2005/8/layout/vList2"/>
    <dgm:cxn modelId="{12EF46EA-A08C-4931-AEF7-FF725F430B0D}" srcId="{364C11FF-FD9D-4212-BB73-B5579B32FE9D}" destId="{8CE255E6-648B-4E39-8946-708F6902E30E}" srcOrd="2" destOrd="0" parTransId="{537EA732-56F9-4DFD-851C-16BA8ADD9935}" sibTransId="{9FCEF48D-21B6-4276-ADBA-4E0EAE1C0C9A}"/>
    <dgm:cxn modelId="{BFA92BF8-07BC-41E1-A781-E89679845441}" type="presOf" srcId="{1E7F2958-30AD-4EE3-BB2D-C81ADF0BBBBB}" destId="{6030D4D0-E4F8-4984-9B7D-E22687DE4820}" srcOrd="0" destOrd="0" presId="urn:microsoft.com/office/officeart/2005/8/layout/vList2"/>
    <dgm:cxn modelId="{455AE2CB-187D-47B5-91A1-C884CF0FEF85}" type="presParOf" srcId="{45C5C427-BC8C-4C54-9115-125E6A650D26}" destId="{E7F4688A-E129-4D40-93CC-4444A3527BFD}" srcOrd="0" destOrd="0" presId="urn:microsoft.com/office/officeart/2005/8/layout/vList2"/>
    <dgm:cxn modelId="{5D72AA62-1459-4A96-9F68-5A46F12C07E1}" type="presParOf" srcId="{45C5C427-BC8C-4C54-9115-125E6A650D26}" destId="{6030D4D0-E4F8-4984-9B7D-E22687DE4820}" srcOrd="1" destOrd="0" presId="urn:microsoft.com/office/officeart/2005/8/layout/vList2"/>
    <dgm:cxn modelId="{4136A96D-4A18-4DFC-9965-EE642824C15B}" type="presParOf" srcId="{45C5C427-BC8C-4C54-9115-125E6A650D26}" destId="{F7290B78-ACBE-4728-B443-5B7962CD04F3}" srcOrd="2" destOrd="0" presId="urn:microsoft.com/office/officeart/2005/8/layout/vList2"/>
    <dgm:cxn modelId="{B704A678-2732-46E3-BCCA-D58862D0A2F5}" type="presParOf" srcId="{45C5C427-BC8C-4C54-9115-125E6A650D26}" destId="{B33DFCDC-03DD-4996-8402-87CCA88F0A24}" srcOrd="3" destOrd="0" presId="urn:microsoft.com/office/officeart/2005/8/layout/vList2"/>
    <dgm:cxn modelId="{4A5ABAE2-A858-4EF2-81D3-191A41B8FE02}" type="presParOf" srcId="{45C5C427-BC8C-4C54-9115-125E6A650D26}" destId="{988E6670-4AEA-4057-9AFA-3D11BCACC4CF}" srcOrd="4" destOrd="0" presId="urn:microsoft.com/office/officeart/2005/8/layout/vList2"/>
    <dgm:cxn modelId="{611AECAF-AC96-4016-80D4-2DE845BF810F}" type="presParOf" srcId="{45C5C427-BC8C-4C54-9115-125E6A650D26}" destId="{859294C6-48AA-456E-9414-CE007EF72D6C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64C11FF-FD9D-4212-BB73-B5579B32FE9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C944A454-24BC-4163-9654-0DEEB2FC401E}">
      <dgm:prSet phldrT="[Testo]"/>
      <dgm:spPr>
        <a:solidFill>
          <a:schemeClr val="tx1"/>
        </a:solidFill>
      </dgm:spPr>
      <dgm:t>
        <a:bodyPr/>
        <a:lstStyle/>
        <a:p>
          <a:r>
            <a:rPr lang="it-IT" dirty="0"/>
            <a:t>1. Risparmiare </a:t>
          </a:r>
        </a:p>
      </dgm:t>
    </dgm:pt>
    <dgm:pt modelId="{3AC801C3-5D0A-40CB-B2E5-A227D204E5F0}" type="parTrans" cxnId="{7D587E34-B64F-4877-8774-51FFC748B064}">
      <dgm:prSet/>
      <dgm:spPr/>
      <dgm:t>
        <a:bodyPr/>
        <a:lstStyle/>
        <a:p>
          <a:endParaRPr lang="it-IT"/>
        </a:p>
      </dgm:t>
    </dgm:pt>
    <dgm:pt modelId="{7BA15534-1020-4482-BA53-4341E20AD7F0}" type="sibTrans" cxnId="{7D587E34-B64F-4877-8774-51FFC748B064}">
      <dgm:prSet/>
      <dgm:spPr/>
      <dgm:t>
        <a:bodyPr/>
        <a:lstStyle/>
        <a:p>
          <a:endParaRPr lang="it-IT"/>
        </a:p>
      </dgm:t>
    </dgm:pt>
    <dgm:pt modelId="{1E7F2958-30AD-4EE3-BB2D-C81ADF0BBBBB}">
      <dgm:prSet phldrT="[Testo]"/>
      <dgm:spPr/>
      <dgm:t>
        <a:bodyPr/>
        <a:lstStyle/>
        <a:p>
          <a:r>
            <a:rPr lang="it-IT" b="1" dirty="0"/>
            <a:t>Sfrutta le convenzioni </a:t>
          </a:r>
          <a:r>
            <a:rPr lang="it-IT" dirty="0"/>
            <a:t>del network</a:t>
          </a:r>
        </a:p>
      </dgm:t>
    </dgm:pt>
    <dgm:pt modelId="{D4DD7E99-232D-4444-A3E3-276F6CD6220A}" type="parTrans" cxnId="{B2916D1A-C4A6-4494-997B-7AD56B10FCA9}">
      <dgm:prSet/>
      <dgm:spPr/>
      <dgm:t>
        <a:bodyPr/>
        <a:lstStyle/>
        <a:p>
          <a:endParaRPr lang="it-IT"/>
        </a:p>
      </dgm:t>
    </dgm:pt>
    <dgm:pt modelId="{8D640941-3BB3-44BC-8D68-58B0E040BA0B}" type="sibTrans" cxnId="{B2916D1A-C4A6-4494-997B-7AD56B10FCA9}">
      <dgm:prSet/>
      <dgm:spPr/>
      <dgm:t>
        <a:bodyPr/>
        <a:lstStyle/>
        <a:p>
          <a:endParaRPr lang="it-IT"/>
        </a:p>
      </dgm:t>
    </dgm:pt>
    <dgm:pt modelId="{BCDD8564-E13C-47DF-BEA3-C972D237080C}">
      <dgm:prSet phldrT="[Testo]"/>
      <dgm:spPr>
        <a:solidFill>
          <a:schemeClr val="tx1"/>
        </a:solidFill>
      </dgm:spPr>
      <dgm:t>
        <a:bodyPr/>
        <a:lstStyle/>
        <a:p>
          <a:r>
            <a:rPr lang="it-IT" dirty="0"/>
            <a:t>2. Formazione</a:t>
          </a:r>
        </a:p>
      </dgm:t>
    </dgm:pt>
    <dgm:pt modelId="{94E2BB1D-175F-4C71-9824-63919361BAFB}" type="parTrans" cxnId="{E90435A1-7442-40EA-AB09-26A91A3CF5F7}">
      <dgm:prSet/>
      <dgm:spPr/>
      <dgm:t>
        <a:bodyPr/>
        <a:lstStyle/>
        <a:p>
          <a:endParaRPr lang="it-IT"/>
        </a:p>
      </dgm:t>
    </dgm:pt>
    <dgm:pt modelId="{562AF66D-408F-4272-AA6C-279C23FC0A45}" type="sibTrans" cxnId="{E90435A1-7442-40EA-AB09-26A91A3CF5F7}">
      <dgm:prSet/>
      <dgm:spPr/>
      <dgm:t>
        <a:bodyPr/>
        <a:lstStyle/>
        <a:p>
          <a:endParaRPr lang="it-IT"/>
        </a:p>
      </dgm:t>
    </dgm:pt>
    <dgm:pt modelId="{B335BC4B-7952-4B9F-ADBA-DF66A83558D2}">
      <dgm:prSet phldrT="[Testo]"/>
      <dgm:spPr/>
      <dgm:t>
        <a:bodyPr/>
        <a:lstStyle/>
        <a:p>
          <a:r>
            <a:rPr lang="it-IT" b="1" dirty="0"/>
            <a:t>Risparmia </a:t>
          </a:r>
          <a:r>
            <a:rPr lang="it-IT" dirty="0"/>
            <a:t>per accrescere le competenze</a:t>
          </a:r>
        </a:p>
      </dgm:t>
    </dgm:pt>
    <dgm:pt modelId="{B4100FD8-51D5-4FB9-9945-DC3CED0B59C4}" type="parTrans" cxnId="{3CCFC167-B845-4010-A5E5-4458C5DF5884}">
      <dgm:prSet/>
      <dgm:spPr/>
      <dgm:t>
        <a:bodyPr/>
        <a:lstStyle/>
        <a:p>
          <a:endParaRPr lang="it-IT"/>
        </a:p>
      </dgm:t>
    </dgm:pt>
    <dgm:pt modelId="{62ECBA6F-DC0E-44BB-9F91-9B4250FC6CC7}" type="sibTrans" cxnId="{3CCFC167-B845-4010-A5E5-4458C5DF5884}">
      <dgm:prSet/>
      <dgm:spPr/>
      <dgm:t>
        <a:bodyPr/>
        <a:lstStyle/>
        <a:p>
          <a:endParaRPr lang="it-IT"/>
        </a:p>
      </dgm:t>
    </dgm:pt>
    <dgm:pt modelId="{8CE255E6-648B-4E39-8946-708F6902E30E}">
      <dgm:prSet phldrT="[Testo]" custT="1"/>
      <dgm:spPr>
        <a:solidFill>
          <a:srgbClr val="0050AA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148590" tIns="148590" rIns="148590" bIns="148590" numCol="1" spcCol="1270" anchor="ctr" anchorCtr="0"/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>
              <a:solidFill>
                <a:prstClr val="white"/>
              </a:solidFill>
              <a:latin typeface="Lidl Font Pro"/>
              <a:ea typeface="+mn-ea"/>
              <a:cs typeface="+mn-cs"/>
            </a:rPr>
            <a:t>3. Convenzioni</a:t>
          </a:r>
        </a:p>
      </dgm:t>
    </dgm:pt>
    <dgm:pt modelId="{537EA732-56F9-4DFD-851C-16BA8ADD9935}" type="parTrans" cxnId="{12EF46EA-A08C-4931-AEF7-FF725F430B0D}">
      <dgm:prSet/>
      <dgm:spPr/>
      <dgm:t>
        <a:bodyPr/>
        <a:lstStyle/>
        <a:p>
          <a:endParaRPr lang="it-IT"/>
        </a:p>
      </dgm:t>
    </dgm:pt>
    <dgm:pt modelId="{9FCEF48D-21B6-4276-ADBA-4E0EAE1C0C9A}" type="sibTrans" cxnId="{12EF46EA-A08C-4931-AEF7-FF725F430B0D}">
      <dgm:prSet/>
      <dgm:spPr/>
      <dgm:t>
        <a:bodyPr/>
        <a:lstStyle/>
        <a:p>
          <a:endParaRPr lang="it-IT"/>
        </a:p>
      </dgm:t>
    </dgm:pt>
    <dgm:pt modelId="{EE2E77FD-D5C6-426B-B826-7404C14D391E}">
      <dgm:prSet phldrT="[Testo]"/>
      <dgm:spPr/>
      <dgm:t>
        <a:bodyPr/>
        <a:lstStyle/>
        <a:p>
          <a:r>
            <a:rPr lang="it-IT" b="1" dirty="0"/>
            <a:t>Sfrutta le potenzialità </a:t>
          </a:r>
          <a:r>
            <a:rPr lang="it-IT" dirty="0"/>
            <a:t>del network</a:t>
          </a:r>
        </a:p>
      </dgm:t>
    </dgm:pt>
    <dgm:pt modelId="{EE26B93F-E437-4065-A3D7-475F5434BC31}" type="parTrans" cxnId="{975CAB9C-878F-4C95-8537-1FA9D2F21CFF}">
      <dgm:prSet/>
      <dgm:spPr/>
      <dgm:t>
        <a:bodyPr/>
        <a:lstStyle/>
        <a:p>
          <a:endParaRPr lang="it-IT"/>
        </a:p>
      </dgm:t>
    </dgm:pt>
    <dgm:pt modelId="{812E83B7-2AD5-4ADF-8C28-11985FD10A83}" type="sibTrans" cxnId="{975CAB9C-878F-4C95-8537-1FA9D2F21CFF}">
      <dgm:prSet/>
      <dgm:spPr/>
      <dgm:t>
        <a:bodyPr/>
        <a:lstStyle/>
        <a:p>
          <a:endParaRPr lang="it-IT"/>
        </a:p>
      </dgm:t>
    </dgm:pt>
    <dgm:pt modelId="{45C5C427-BC8C-4C54-9115-125E6A650D26}" type="pres">
      <dgm:prSet presAssocID="{364C11FF-FD9D-4212-BB73-B5579B32FE9D}" presName="linear" presStyleCnt="0">
        <dgm:presLayoutVars>
          <dgm:animLvl val="lvl"/>
          <dgm:resizeHandles val="exact"/>
        </dgm:presLayoutVars>
      </dgm:prSet>
      <dgm:spPr/>
    </dgm:pt>
    <dgm:pt modelId="{E7F4688A-E129-4D40-93CC-4444A3527BFD}" type="pres">
      <dgm:prSet presAssocID="{C944A454-24BC-4163-9654-0DEEB2FC401E}" presName="parentText" presStyleLbl="node1" presStyleIdx="0" presStyleCnt="3" custLinFactNeighborX="28019">
        <dgm:presLayoutVars>
          <dgm:chMax val="0"/>
          <dgm:bulletEnabled val="1"/>
        </dgm:presLayoutVars>
      </dgm:prSet>
      <dgm:spPr/>
    </dgm:pt>
    <dgm:pt modelId="{6030D4D0-E4F8-4984-9B7D-E22687DE4820}" type="pres">
      <dgm:prSet presAssocID="{C944A454-24BC-4163-9654-0DEEB2FC401E}" presName="childText" presStyleLbl="revTx" presStyleIdx="0" presStyleCnt="3">
        <dgm:presLayoutVars>
          <dgm:bulletEnabled val="1"/>
        </dgm:presLayoutVars>
      </dgm:prSet>
      <dgm:spPr/>
    </dgm:pt>
    <dgm:pt modelId="{F7290B78-ACBE-4728-B443-5B7962CD04F3}" type="pres">
      <dgm:prSet presAssocID="{BCDD8564-E13C-47DF-BEA3-C972D237080C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B33DFCDC-03DD-4996-8402-87CCA88F0A24}" type="pres">
      <dgm:prSet presAssocID="{BCDD8564-E13C-47DF-BEA3-C972D237080C}" presName="childText" presStyleLbl="revTx" presStyleIdx="1" presStyleCnt="3">
        <dgm:presLayoutVars>
          <dgm:bulletEnabled val="1"/>
        </dgm:presLayoutVars>
      </dgm:prSet>
      <dgm:spPr/>
    </dgm:pt>
    <dgm:pt modelId="{988E6670-4AEA-4057-9AFA-3D11BCACC4CF}" type="pres">
      <dgm:prSet presAssocID="{8CE255E6-648B-4E39-8946-708F6902E30E}" presName="parentText" presStyleLbl="node1" presStyleIdx="2" presStyleCnt="3">
        <dgm:presLayoutVars>
          <dgm:chMax val="0"/>
          <dgm:bulletEnabled val="1"/>
        </dgm:presLayoutVars>
      </dgm:prSet>
      <dgm:spPr>
        <a:xfrm>
          <a:off x="0" y="3338387"/>
          <a:ext cx="7568973" cy="935415"/>
        </a:xfrm>
        <a:prstGeom prst="roundRect">
          <a:avLst/>
        </a:prstGeom>
      </dgm:spPr>
    </dgm:pt>
    <dgm:pt modelId="{859294C6-48AA-456E-9414-CE007EF72D6C}" type="pres">
      <dgm:prSet presAssocID="{8CE255E6-648B-4E39-8946-708F6902E30E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B2916D1A-C4A6-4494-997B-7AD56B10FCA9}" srcId="{C944A454-24BC-4163-9654-0DEEB2FC401E}" destId="{1E7F2958-30AD-4EE3-BB2D-C81ADF0BBBBB}" srcOrd="0" destOrd="0" parTransId="{D4DD7E99-232D-4444-A3E3-276F6CD6220A}" sibTransId="{8D640941-3BB3-44BC-8D68-58B0E040BA0B}"/>
    <dgm:cxn modelId="{7D587E34-B64F-4877-8774-51FFC748B064}" srcId="{364C11FF-FD9D-4212-BB73-B5579B32FE9D}" destId="{C944A454-24BC-4163-9654-0DEEB2FC401E}" srcOrd="0" destOrd="0" parTransId="{3AC801C3-5D0A-40CB-B2E5-A227D204E5F0}" sibTransId="{7BA15534-1020-4482-BA53-4341E20AD7F0}"/>
    <dgm:cxn modelId="{53E60563-44A8-4959-B7B4-C7EA59CA1B07}" type="presOf" srcId="{8CE255E6-648B-4E39-8946-708F6902E30E}" destId="{988E6670-4AEA-4057-9AFA-3D11BCACC4CF}" srcOrd="0" destOrd="0" presId="urn:microsoft.com/office/officeart/2005/8/layout/vList2"/>
    <dgm:cxn modelId="{3CCFC167-B845-4010-A5E5-4458C5DF5884}" srcId="{BCDD8564-E13C-47DF-BEA3-C972D237080C}" destId="{B335BC4B-7952-4B9F-ADBA-DF66A83558D2}" srcOrd="0" destOrd="0" parTransId="{B4100FD8-51D5-4FB9-9945-DC3CED0B59C4}" sibTransId="{62ECBA6F-DC0E-44BB-9F91-9B4250FC6CC7}"/>
    <dgm:cxn modelId="{4299B96E-A34A-406E-97AB-EA9EC44AC46D}" type="presOf" srcId="{364C11FF-FD9D-4212-BB73-B5579B32FE9D}" destId="{45C5C427-BC8C-4C54-9115-125E6A650D26}" srcOrd="0" destOrd="0" presId="urn:microsoft.com/office/officeart/2005/8/layout/vList2"/>
    <dgm:cxn modelId="{4FA60152-ABEF-4611-86D5-A31CEE22EE74}" type="presOf" srcId="{B335BC4B-7952-4B9F-ADBA-DF66A83558D2}" destId="{B33DFCDC-03DD-4996-8402-87CCA88F0A24}" srcOrd="0" destOrd="0" presId="urn:microsoft.com/office/officeart/2005/8/layout/vList2"/>
    <dgm:cxn modelId="{F158B053-049B-487F-A3C3-E8DC0E7A280A}" type="presOf" srcId="{EE2E77FD-D5C6-426B-B826-7404C14D391E}" destId="{859294C6-48AA-456E-9414-CE007EF72D6C}" srcOrd="0" destOrd="0" presId="urn:microsoft.com/office/officeart/2005/8/layout/vList2"/>
    <dgm:cxn modelId="{DF529190-5C24-4ECA-9A8D-815E79CEA81A}" type="presOf" srcId="{BCDD8564-E13C-47DF-BEA3-C972D237080C}" destId="{F7290B78-ACBE-4728-B443-5B7962CD04F3}" srcOrd="0" destOrd="0" presId="urn:microsoft.com/office/officeart/2005/8/layout/vList2"/>
    <dgm:cxn modelId="{975CAB9C-878F-4C95-8537-1FA9D2F21CFF}" srcId="{8CE255E6-648B-4E39-8946-708F6902E30E}" destId="{EE2E77FD-D5C6-426B-B826-7404C14D391E}" srcOrd="0" destOrd="0" parTransId="{EE26B93F-E437-4065-A3D7-475F5434BC31}" sibTransId="{812E83B7-2AD5-4ADF-8C28-11985FD10A83}"/>
    <dgm:cxn modelId="{E90435A1-7442-40EA-AB09-26A91A3CF5F7}" srcId="{364C11FF-FD9D-4212-BB73-B5579B32FE9D}" destId="{BCDD8564-E13C-47DF-BEA3-C972D237080C}" srcOrd="1" destOrd="0" parTransId="{94E2BB1D-175F-4C71-9824-63919361BAFB}" sibTransId="{562AF66D-408F-4272-AA6C-279C23FC0A45}"/>
    <dgm:cxn modelId="{D6F088A8-FA4C-4BB5-A242-99651AE8A9F7}" type="presOf" srcId="{C944A454-24BC-4163-9654-0DEEB2FC401E}" destId="{E7F4688A-E129-4D40-93CC-4444A3527BFD}" srcOrd="0" destOrd="0" presId="urn:microsoft.com/office/officeart/2005/8/layout/vList2"/>
    <dgm:cxn modelId="{12EF46EA-A08C-4931-AEF7-FF725F430B0D}" srcId="{364C11FF-FD9D-4212-BB73-B5579B32FE9D}" destId="{8CE255E6-648B-4E39-8946-708F6902E30E}" srcOrd="2" destOrd="0" parTransId="{537EA732-56F9-4DFD-851C-16BA8ADD9935}" sibTransId="{9FCEF48D-21B6-4276-ADBA-4E0EAE1C0C9A}"/>
    <dgm:cxn modelId="{BFA92BF8-07BC-41E1-A781-E89679845441}" type="presOf" srcId="{1E7F2958-30AD-4EE3-BB2D-C81ADF0BBBBB}" destId="{6030D4D0-E4F8-4984-9B7D-E22687DE4820}" srcOrd="0" destOrd="0" presId="urn:microsoft.com/office/officeart/2005/8/layout/vList2"/>
    <dgm:cxn modelId="{455AE2CB-187D-47B5-91A1-C884CF0FEF85}" type="presParOf" srcId="{45C5C427-BC8C-4C54-9115-125E6A650D26}" destId="{E7F4688A-E129-4D40-93CC-4444A3527BFD}" srcOrd="0" destOrd="0" presId="urn:microsoft.com/office/officeart/2005/8/layout/vList2"/>
    <dgm:cxn modelId="{5D72AA62-1459-4A96-9F68-5A46F12C07E1}" type="presParOf" srcId="{45C5C427-BC8C-4C54-9115-125E6A650D26}" destId="{6030D4D0-E4F8-4984-9B7D-E22687DE4820}" srcOrd="1" destOrd="0" presId="urn:microsoft.com/office/officeart/2005/8/layout/vList2"/>
    <dgm:cxn modelId="{4136A96D-4A18-4DFC-9965-EE642824C15B}" type="presParOf" srcId="{45C5C427-BC8C-4C54-9115-125E6A650D26}" destId="{F7290B78-ACBE-4728-B443-5B7962CD04F3}" srcOrd="2" destOrd="0" presId="urn:microsoft.com/office/officeart/2005/8/layout/vList2"/>
    <dgm:cxn modelId="{B704A678-2732-46E3-BCCA-D58862D0A2F5}" type="presParOf" srcId="{45C5C427-BC8C-4C54-9115-125E6A650D26}" destId="{B33DFCDC-03DD-4996-8402-87CCA88F0A24}" srcOrd="3" destOrd="0" presId="urn:microsoft.com/office/officeart/2005/8/layout/vList2"/>
    <dgm:cxn modelId="{4A5ABAE2-A858-4EF2-81D3-191A41B8FE02}" type="presParOf" srcId="{45C5C427-BC8C-4C54-9115-125E6A650D26}" destId="{988E6670-4AEA-4057-9AFA-3D11BCACC4CF}" srcOrd="4" destOrd="0" presId="urn:microsoft.com/office/officeart/2005/8/layout/vList2"/>
    <dgm:cxn modelId="{611AECAF-AC96-4016-80D4-2DE845BF810F}" type="presParOf" srcId="{45C5C427-BC8C-4C54-9115-125E6A650D26}" destId="{859294C6-48AA-456E-9414-CE007EF72D6C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64C11FF-FD9D-4212-BB73-B5579B32FE9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C944A454-24BC-4163-9654-0DEEB2FC401E}">
      <dgm:prSet phldrT="[Testo]"/>
      <dgm:spPr>
        <a:solidFill>
          <a:schemeClr val="tx1"/>
        </a:solidFill>
      </dgm:spPr>
      <dgm:t>
        <a:bodyPr/>
        <a:lstStyle/>
        <a:p>
          <a:r>
            <a:rPr lang="it-IT" dirty="0"/>
            <a:t>2. Crescere</a:t>
          </a:r>
        </a:p>
      </dgm:t>
    </dgm:pt>
    <dgm:pt modelId="{3AC801C3-5D0A-40CB-B2E5-A227D204E5F0}" type="parTrans" cxnId="{7D587E34-B64F-4877-8774-51FFC748B064}">
      <dgm:prSet/>
      <dgm:spPr/>
      <dgm:t>
        <a:bodyPr/>
        <a:lstStyle/>
        <a:p>
          <a:endParaRPr lang="it-IT"/>
        </a:p>
      </dgm:t>
    </dgm:pt>
    <dgm:pt modelId="{7BA15534-1020-4482-BA53-4341E20AD7F0}" type="sibTrans" cxnId="{7D587E34-B64F-4877-8774-51FFC748B064}">
      <dgm:prSet/>
      <dgm:spPr/>
      <dgm:t>
        <a:bodyPr/>
        <a:lstStyle/>
        <a:p>
          <a:endParaRPr lang="it-IT"/>
        </a:p>
      </dgm:t>
    </dgm:pt>
    <dgm:pt modelId="{1E7F2958-30AD-4EE3-BB2D-C81ADF0BBBBB}">
      <dgm:prSet phldrT="[Testo]"/>
      <dgm:spPr/>
      <dgm:t>
        <a:bodyPr/>
        <a:lstStyle/>
        <a:p>
          <a:r>
            <a:rPr lang="it-IT" b="0" dirty="0"/>
            <a:t>Svolgi</a:t>
          </a:r>
          <a:r>
            <a:rPr lang="it-IT" b="1" dirty="0"/>
            <a:t> formazione gratuita</a:t>
          </a:r>
          <a:endParaRPr lang="it-IT" dirty="0"/>
        </a:p>
      </dgm:t>
    </dgm:pt>
    <dgm:pt modelId="{D4DD7E99-232D-4444-A3E3-276F6CD6220A}" type="parTrans" cxnId="{B2916D1A-C4A6-4494-997B-7AD56B10FCA9}">
      <dgm:prSet/>
      <dgm:spPr/>
      <dgm:t>
        <a:bodyPr/>
        <a:lstStyle/>
        <a:p>
          <a:endParaRPr lang="it-IT"/>
        </a:p>
      </dgm:t>
    </dgm:pt>
    <dgm:pt modelId="{8D640941-3BB3-44BC-8D68-58B0E040BA0B}" type="sibTrans" cxnId="{B2916D1A-C4A6-4494-997B-7AD56B10FCA9}">
      <dgm:prSet/>
      <dgm:spPr/>
      <dgm:t>
        <a:bodyPr/>
        <a:lstStyle/>
        <a:p>
          <a:endParaRPr lang="it-IT"/>
        </a:p>
      </dgm:t>
    </dgm:pt>
    <dgm:pt modelId="{BCDD8564-E13C-47DF-BEA3-C972D237080C}">
      <dgm:prSet phldrT="[Testo]"/>
      <dgm:spPr>
        <a:solidFill>
          <a:schemeClr val="tx1"/>
        </a:solidFill>
      </dgm:spPr>
      <dgm:t>
        <a:bodyPr/>
        <a:lstStyle/>
        <a:p>
          <a:r>
            <a:rPr lang="it-IT" dirty="0"/>
            <a:t>2. Formazione</a:t>
          </a:r>
        </a:p>
      </dgm:t>
    </dgm:pt>
    <dgm:pt modelId="{94E2BB1D-175F-4C71-9824-63919361BAFB}" type="parTrans" cxnId="{E90435A1-7442-40EA-AB09-26A91A3CF5F7}">
      <dgm:prSet/>
      <dgm:spPr/>
      <dgm:t>
        <a:bodyPr/>
        <a:lstStyle/>
        <a:p>
          <a:endParaRPr lang="it-IT"/>
        </a:p>
      </dgm:t>
    </dgm:pt>
    <dgm:pt modelId="{562AF66D-408F-4272-AA6C-279C23FC0A45}" type="sibTrans" cxnId="{E90435A1-7442-40EA-AB09-26A91A3CF5F7}">
      <dgm:prSet/>
      <dgm:spPr/>
      <dgm:t>
        <a:bodyPr/>
        <a:lstStyle/>
        <a:p>
          <a:endParaRPr lang="it-IT"/>
        </a:p>
      </dgm:t>
    </dgm:pt>
    <dgm:pt modelId="{B335BC4B-7952-4B9F-ADBA-DF66A83558D2}">
      <dgm:prSet phldrT="[Testo]"/>
      <dgm:spPr/>
      <dgm:t>
        <a:bodyPr/>
        <a:lstStyle/>
        <a:p>
          <a:r>
            <a:rPr lang="it-IT" b="1" dirty="0"/>
            <a:t>Risparmia </a:t>
          </a:r>
          <a:r>
            <a:rPr lang="it-IT" dirty="0"/>
            <a:t>per accrescere le competenze</a:t>
          </a:r>
        </a:p>
      </dgm:t>
    </dgm:pt>
    <dgm:pt modelId="{B4100FD8-51D5-4FB9-9945-DC3CED0B59C4}" type="parTrans" cxnId="{3CCFC167-B845-4010-A5E5-4458C5DF5884}">
      <dgm:prSet/>
      <dgm:spPr/>
      <dgm:t>
        <a:bodyPr/>
        <a:lstStyle/>
        <a:p>
          <a:endParaRPr lang="it-IT"/>
        </a:p>
      </dgm:t>
    </dgm:pt>
    <dgm:pt modelId="{62ECBA6F-DC0E-44BB-9F91-9B4250FC6CC7}" type="sibTrans" cxnId="{3CCFC167-B845-4010-A5E5-4458C5DF5884}">
      <dgm:prSet/>
      <dgm:spPr/>
      <dgm:t>
        <a:bodyPr/>
        <a:lstStyle/>
        <a:p>
          <a:endParaRPr lang="it-IT"/>
        </a:p>
      </dgm:t>
    </dgm:pt>
    <dgm:pt modelId="{8CE255E6-648B-4E39-8946-708F6902E30E}">
      <dgm:prSet phldrT="[Testo]" custT="1"/>
      <dgm:spPr>
        <a:solidFill>
          <a:srgbClr val="0050AA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148590" tIns="148590" rIns="148590" bIns="148590" numCol="1" spcCol="1270" anchor="ctr" anchorCtr="0"/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>
              <a:solidFill>
                <a:prstClr val="white"/>
              </a:solidFill>
              <a:latin typeface="Lidl Font Pro"/>
              <a:ea typeface="+mn-ea"/>
              <a:cs typeface="+mn-cs"/>
            </a:rPr>
            <a:t>3. Convenzioni</a:t>
          </a:r>
        </a:p>
      </dgm:t>
    </dgm:pt>
    <dgm:pt modelId="{537EA732-56F9-4DFD-851C-16BA8ADD9935}" type="parTrans" cxnId="{12EF46EA-A08C-4931-AEF7-FF725F430B0D}">
      <dgm:prSet/>
      <dgm:spPr/>
      <dgm:t>
        <a:bodyPr/>
        <a:lstStyle/>
        <a:p>
          <a:endParaRPr lang="it-IT"/>
        </a:p>
      </dgm:t>
    </dgm:pt>
    <dgm:pt modelId="{9FCEF48D-21B6-4276-ADBA-4E0EAE1C0C9A}" type="sibTrans" cxnId="{12EF46EA-A08C-4931-AEF7-FF725F430B0D}">
      <dgm:prSet/>
      <dgm:spPr/>
      <dgm:t>
        <a:bodyPr/>
        <a:lstStyle/>
        <a:p>
          <a:endParaRPr lang="it-IT"/>
        </a:p>
      </dgm:t>
    </dgm:pt>
    <dgm:pt modelId="{EE2E77FD-D5C6-426B-B826-7404C14D391E}">
      <dgm:prSet phldrT="[Testo]"/>
      <dgm:spPr/>
      <dgm:t>
        <a:bodyPr/>
        <a:lstStyle/>
        <a:p>
          <a:r>
            <a:rPr lang="it-IT" b="1" dirty="0"/>
            <a:t>Sfrutta le potenzialità </a:t>
          </a:r>
          <a:r>
            <a:rPr lang="it-IT" dirty="0"/>
            <a:t>del network</a:t>
          </a:r>
        </a:p>
      </dgm:t>
    </dgm:pt>
    <dgm:pt modelId="{EE26B93F-E437-4065-A3D7-475F5434BC31}" type="parTrans" cxnId="{975CAB9C-878F-4C95-8537-1FA9D2F21CFF}">
      <dgm:prSet/>
      <dgm:spPr/>
      <dgm:t>
        <a:bodyPr/>
        <a:lstStyle/>
        <a:p>
          <a:endParaRPr lang="it-IT"/>
        </a:p>
      </dgm:t>
    </dgm:pt>
    <dgm:pt modelId="{812E83B7-2AD5-4ADF-8C28-11985FD10A83}" type="sibTrans" cxnId="{975CAB9C-878F-4C95-8537-1FA9D2F21CFF}">
      <dgm:prSet/>
      <dgm:spPr/>
      <dgm:t>
        <a:bodyPr/>
        <a:lstStyle/>
        <a:p>
          <a:endParaRPr lang="it-IT"/>
        </a:p>
      </dgm:t>
    </dgm:pt>
    <dgm:pt modelId="{45C5C427-BC8C-4C54-9115-125E6A650D26}" type="pres">
      <dgm:prSet presAssocID="{364C11FF-FD9D-4212-BB73-B5579B32FE9D}" presName="linear" presStyleCnt="0">
        <dgm:presLayoutVars>
          <dgm:animLvl val="lvl"/>
          <dgm:resizeHandles val="exact"/>
        </dgm:presLayoutVars>
      </dgm:prSet>
      <dgm:spPr/>
    </dgm:pt>
    <dgm:pt modelId="{E7F4688A-E129-4D40-93CC-4444A3527BFD}" type="pres">
      <dgm:prSet presAssocID="{C944A454-24BC-4163-9654-0DEEB2FC401E}" presName="parentText" presStyleLbl="node1" presStyleIdx="0" presStyleCnt="3" custLinFactNeighborX="28019">
        <dgm:presLayoutVars>
          <dgm:chMax val="0"/>
          <dgm:bulletEnabled val="1"/>
        </dgm:presLayoutVars>
      </dgm:prSet>
      <dgm:spPr/>
    </dgm:pt>
    <dgm:pt modelId="{6030D4D0-E4F8-4984-9B7D-E22687DE4820}" type="pres">
      <dgm:prSet presAssocID="{C944A454-24BC-4163-9654-0DEEB2FC401E}" presName="childText" presStyleLbl="revTx" presStyleIdx="0" presStyleCnt="3">
        <dgm:presLayoutVars>
          <dgm:bulletEnabled val="1"/>
        </dgm:presLayoutVars>
      </dgm:prSet>
      <dgm:spPr/>
    </dgm:pt>
    <dgm:pt modelId="{F7290B78-ACBE-4728-B443-5B7962CD04F3}" type="pres">
      <dgm:prSet presAssocID="{BCDD8564-E13C-47DF-BEA3-C972D237080C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B33DFCDC-03DD-4996-8402-87CCA88F0A24}" type="pres">
      <dgm:prSet presAssocID="{BCDD8564-E13C-47DF-BEA3-C972D237080C}" presName="childText" presStyleLbl="revTx" presStyleIdx="1" presStyleCnt="3">
        <dgm:presLayoutVars>
          <dgm:bulletEnabled val="1"/>
        </dgm:presLayoutVars>
      </dgm:prSet>
      <dgm:spPr/>
    </dgm:pt>
    <dgm:pt modelId="{988E6670-4AEA-4057-9AFA-3D11BCACC4CF}" type="pres">
      <dgm:prSet presAssocID="{8CE255E6-648B-4E39-8946-708F6902E30E}" presName="parentText" presStyleLbl="node1" presStyleIdx="2" presStyleCnt="3">
        <dgm:presLayoutVars>
          <dgm:chMax val="0"/>
          <dgm:bulletEnabled val="1"/>
        </dgm:presLayoutVars>
      </dgm:prSet>
      <dgm:spPr>
        <a:xfrm>
          <a:off x="0" y="3338387"/>
          <a:ext cx="7568973" cy="935415"/>
        </a:xfrm>
        <a:prstGeom prst="roundRect">
          <a:avLst/>
        </a:prstGeom>
      </dgm:spPr>
    </dgm:pt>
    <dgm:pt modelId="{859294C6-48AA-456E-9414-CE007EF72D6C}" type="pres">
      <dgm:prSet presAssocID="{8CE255E6-648B-4E39-8946-708F6902E30E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B2916D1A-C4A6-4494-997B-7AD56B10FCA9}" srcId="{C944A454-24BC-4163-9654-0DEEB2FC401E}" destId="{1E7F2958-30AD-4EE3-BB2D-C81ADF0BBBBB}" srcOrd="0" destOrd="0" parTransId="{D4DD7E99-232D-4444-A3E3-276F6CD6220A}" sibTransId="{8D640941-3BB3-44BC-8D68-58B0E040BA0B}"/>
    <dgm:cxn modelId="{7D587E34-B64F-4877-8774-51FFC748B064}" srcId="{364C11FF-FD9D-4212-BB73-B5579B32FE9D}" destId="{C944A454-24BC-4163-9654-0DEEB2FC401E}" srcOrd="0" destOrd="0" parTransId="{3AC801C3-5D0A-40CB-B2E5-A227D204E5F0}" sibTransId="{7BA15534-1020-4482-BA53-4341E20AD7F0}"/>
    <dgm:cxn modelId="{53E60563-44A8-4959-B7B4-C7EA59CA1B07}" type="presOf" srcId="{8CE255E6-648B-4E39-8946-708F6902E30E}" destId="{988E6670-4AEA-4057-9AFA-3D11BCACC4CF}" srcOrd="0" destOrd="0" presId="urn:microsoft.com/office/officeart/2005/8/layout/vList2"/>
    <dgm:cxn modelId="{3CCFC167-B845-4010-A5E5-4458C5DF5884}" srcId="{BCDD8564-E13C-47DF-BEA3-C972D237080C}" destId="{B335BC4B-7952-4B9F-ADBA-DF66A83558D2}" srcOrd="0" destOrd="0" parTransId="{B4100FD8-51D5-4FB9-9945-DC3CED0B59C4}" sibTransId="{62ECBA6F-DC0E-44BB-9F91-9B4250FC6CC7}"/>
    <dgm:cxn modelId="{4299B96E-A34A-406E-97AB-EA9EC44AC46D}" type="presOf" srcId="{364C11FF-FD9D-4212-BB73-B5579B32FE9D}" destId="{45C5C427-BC8C-4C54-9115-125E6A650D26}" srcOrd="0" destOrd="0" presId="urn:microsoft.com/office/officeart/2005/8/layout/vList2"/>
    <dgm:cxn modelId="{4FA60152-ABEF-4611-86D5-A31CEE22EE74}" type="presOf" srcId="{B335BC4B-7952-4B9F-ADBA-DF66A83558D2}" destId="{B33DFCDC-03DD-4996-8402-87CCA88F0A24}" srcOrd="0" destOrd="0" presId="urn:microsoft.com/office/officeart/2005/8/layout/vList2"/>
    <dgm:cxn modelId="{F158B053-049B-487F-A3C3-E8DC0E7A280A}" type="presOf" srcId="{EE2E77FD-D5C6-426B-B826-7404C14D391E}" destId="{859294C6-48AA-456E-9414-CE007EF72D6C}" srcOrd="0" destOrd="0" presId="urn:microsoft.com/office/officeart/2005/8/layout/vList2"/>
    <dgm:cxn modelId="{DF529190-5C24-4ECA-9A8D-815E79CEA81A}" type="presOf" srcId="{BCDD8564-E13C-47DF-BEA3-C972D237080C}" destId="{F7290B78-ACBE-4728-B443-5B7962CD04F3}" srcOrd="0" destOrd="0" presId="urn:microsoft.com/office/officeart/2005/8/layout/vList2"/>
    <dgm:cxn modelId="{975CAB9C-878F-4C95-8537-1FA9D2F21CFF}" srcId="{8CE255E6-648B-4E39-8946-708F6902E30E}" destId="{EE2E77FD-D5C6-426B-B826-7404C14D391E}" srcOrd="0" destOrd="0" parTransId="{EE26B93F-E437-4065-A3D7-475F5434BC31}" sibTransId="{812E83B7-2AD5-4ADF-8C28-11985FD10A83}"/>
    <dgm:cxn modelId="{E90435A1-7442-40EA-AB09-26A91A3CF5F7}" srcId="{364C11FF-FD9D-4212-BB73-B5579B32FE9D}" destId="{BCDD8564-E13C-47DF-BEA3-C972D237080C}" srcOrd="1" destOrd="0" parTransId="{94E2BB1D-175F-4C71-9824-63919361BAFB}" sibTransId="{562AF66D-408F-4272-AA6C-279C23FC0A45}"/>
    <dgm:cxn modelId="{D6F088A8-FA4C-4BB5-A242-99651AE8A9F7}" type="presOf" srcId="{C944A454-24BC-4163-9654-0DEEB2FC401E}" destId="{E7F4688A-E129-4D40-93CC-4444A3527BFD}" srcOrd="0" destOrd="0" presId="urn:microsoft.com/office/officeart/2005/8/layout/vList2"/>
    <dgm:cxn modelId="{12EF46EA-A08C-4931-AEF7-FF725F430B0D}" srcId="{364C11FF-FD9D-4212-BB73-B5579B32FE9D}" destId="{8CE255E6-648B-4E39-8946-708F6902E30E}" srcOrd="2" destOrd="0" parTransId="{537EA732-56F9-4DFD-851C-16BA8ADD9935}" sibTransId="{9FCEF48D-21B6-4276-ADBA-4E0EAE1C0C9A}"/>
    <dgm:cxn modelId="{BFA92BF8-07BC-41E1-A781-E89679845441}" type="presOf" srcId="{1E7F2958-30AD-4EE3-BB2D-C81ADF0BBBBB}" destId="{6030D4D0-E4F8-4984-9B7D-E22687DE4820}" srcOrd="0" destOrd="0" presId="urn:microsoft.com/office/officeart/2005/8/layout/vList2"/>
    <dgm:cxn modelId="{455AE2CB-187D-47B5-91A1-C884CF0FEF85}" type="presParOf" srcId="{45C5C427-BC8C-4C54-9115-125E6A650D26}" destId="{E7F4688A-E129-4D40-93CC-4444A3527BFD}" srcOrd="0" destOrd="0" presId="urn:microsoft.com/office/officeart/2005/8/layout/vList2"/>
    <dgm:cxn modelId="{5D72AA62-1459-4A96-9F68-5A46F12C07E1}" type="presParOf" srcId="{45C5C427-BC8C-4C54-9115-125E6A650D26}" destId="{6030D4D0-E4F8-4984-9B7D-E22687DE4820}" srcOrd="1" destOrd="0" presId="urn:microsoft.com/office/officeart/2005/8/layout/vList2"/>
    <dgm:cxn modelId="{4136A96D-4A18-4DFC-9965-EE642824C15B}" type="presParOf" srcId="{45C5C427-BC8C-4C54-9115-125E6A650D26}" destId="{F7290B78-ACBE-4728-B443-5B7962CD04F3}" srcOrd="2" destOrd="0" presId="urn:microsoft.com/office/officeart/2005/8/layout/vList2"/>
    <dgm:cxn modelId="{B704A678-2732-46E3-BCCA-D58862D0A2F5}" type="presParOf" srcId="{45C5C427-BC8C-4C54-9115-125E6A650D26}" destId="{B33DFCDC-03DD-4996-8402-87CCA88F0A24}" srcOrd="3" destOrd="0" presId="urn:microsoft.com/office/officeart/2005/8/layout/vList2"/>
    <dgm:cxn modelId="{4A5ABAE2-A858-4EF2-81D3-191A41B8FE02}" type="presParOf" srcId="{45C5C427-BC8C-4C54-9115-125E6A650D26}" destId="{988E6670-4AEA-4057-9AFA-3D11BCACC4CF}" srcOrd="4" destOrd="0" presId="urn:microsoft.com/office/officeart/2005/8/layout/vList2"/>
    <dgm:cxn modelId="{611AECAF-AC96-4016-80D4-2DE845BF810F}" type="presParOf" srcId="{45C5C427-BC8C-4C54-9115-125E6A650D26}" destId="{859294C6-48AA-456E-9414-CE007EF72D6C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5633BF6-2C18-46A4-A1BD-1B621BBD9CB5}" type="doc">
      <dgm:prSet loTypeId="urn:microsoft.com/office/officeart/2005/8/layout/hList7" loCatId="list" qsTypeId="urn:microsoft.com/office/officeart/2005/8/quickstyle/simple1" qsCatId="simple" csTypeId="urn:microsoft.com/office/officeart/2005/8/colors/accent0_1" csCatId="mainScheme" phldr="1"/>
      <dgm:spPr/>
    </dgm:pt>
    <dgm:pt modelId="{70506A46-5F5E-4D5A-8B31-EAAF9403DF1B}">
      <dgm:prSet phldrT="[Testo]"/>
      <dgm:spPr/>
      <dgm:t>
        <a:bodyPr/>
        <a:lstStyle/>
        <a:p>
          <a:r>
            <a:rPr lang="it-IT" b="1" dirty="0"/>
            <a:t>865</a:t>
          </a:r>
          <a:r>
            <a:rPr lang="it-IT" dirty="0"/>
            <a:t> allievi</a:t>
          </a:r>
        </a:p>
      </dgm:t>
    </dgm:pt>
    <dgm:pt modelId="{2C487732-C866-4392-8B1B-42982C7448FF}" type="parTrans" cxnId="{A697B9F8-2804-441F-AAD0-A5DDBE1B80FE}">
      <dgm:prSet/>
      <dgm:spPr/>
      <dgm:t>
        <a:bodyPr/>
        <a:lstStyle/>
        <a:p>
          <a:endParaRPr lang="it-IT"/>
        </a:p>
      </dgm:t>
    </dgm:pt>
    <dgm:pt modelId="{568DA275-40CD-42C3-A5A3-45B498B73807}" type="sibTrans" cxnId="{A697B9F8-2804-441F-AAD0-A5DDBE1B80FE}">
      <dgm:prSet/>
      <dgm:spPr/>
      <dgm:t>
        <a:bodyPr/>
        <a:lstStyle/>
        <a:p>
          <a:endParaRPr lang="it-IT"/>
        </a:p>
      </dgm:t>
    </dgm:pt>
    <dgm:pt modelId="{FEC5CAFC-B612-4F9F-9B65-8568C4FD8780}">
      <dgm:prSet phldrT="[Testo]"/>
      <dgm:spPr/>
      <dgm:t>
        <a:bodyPr/>
        <a:lstStyle/>
        <a:p>
          <a:r>
            <a:rPr lang="it-IT" b="1" dirty="0"/>
            <a:t>86</a:t>
          </a:r>
          <a:r>
            <a:rPr lang="it-IT" dirty="0"/>
            <a:t>  corsi</a:t>
          </a:r>
        </a:p>
      </dgm:t>
    </dgm:pt>
    <dgm:pt modelId="{62F209A7-9BD1-4738-B6F4-5CE4B52BBC02}" type="parTrans" cxnId="{D7B68A7B-F4A9-4506-94F3-8FF640F79F10}">
      <dgm:prSet/>
      <dgm:spPr/>
      <dgm:t>
        <a:bodyPr/>
        <a:lstStyle/>
        <a:p>
          <a:endParaRPr lang="it-IT"/>
        </a:p>
      </dgm:t>
    </dgm:pt>
    <dgm:pt modelId="{5CFD879C-5EB6-48FA-B3F1-860F2E9BDCBF}" type="sibTrans" cxnId="{D7B68A7B-F4A9-4506-94F3-8FF640F79F10}">
      <dgm:prSet/>
      <dgm:spPr/>
      <dgm:t>
        <a:bodyPr/>
        <a:lstStyle/>
        <a:p>
          <a:endParaRPr lang="it-IT"/>
        </a:p>
      </dgm:t>
    </dgm:pt>
    <dgm:pt modelId="{3B4347A6-C46C-4858-8FC0-054EBD4756F1}">
      <dgm:prSet phldrT="[Testo]"/>
      <dgm:spPr/>
      <dgm:t>
        <a:bodyPr/>
        <a:lstStyle/>
        <a:p>
          <a:r>
            <a:rPr lang="it-IT" b="1" dirty="0"/>
            <a:t>432</a:t>
          </a:r>
          <a:r>
            <a:rPr lang="it-IT" dirty="0"/>
            <a:t> ore erogate</a:t>
          </a:r>
        </a:p>
      </dgm:t>
    </dgm:pt>
    <dgm:pt modelId="{DD834CC0-54B1-418D-9B97-0610FAB5FCC0}" type="parTrans" cxnId="{E1C42A8B-0F92-451B-9B33-0949462EE3AD}">
      <dgm:prSet/>
      <dgm:spPr/>
      <dgm:t>
        <a:bodyPr/>
        <a:lstStyle/>
        <a:p>
          <a:endParaRPr lang="it-IT"/>
        </a:p>
      </dgm:t>
    </dgm:pt>
    <dgm:pt modelId="{37A1070D-A4DA-42E2-A004-3DF58099A7BF}" type="sibTrans" cxnId="{E1C42A8B-0F92-451B-9B33-0949462EE3AD}">
      <dgm:prSet/>
      <dgm:spPr/>
      <dgm:t>
        <a:bodyPr/>
        <a:lstStyle/>
        <a:p>
          <a:endParaRPr lang="it-IT"/>
        </a:p>
      </dgm:t>
    </dgm:pt>
    <dgm:pt modelId="{3B5270BA-1DF3-4C2F-9AA4-9ABB8754D827}" type="pres">
      <dgm:prSet presAssocID="{B5633BF6-2C18-46A4-A1BD-1B621BBD9CB5}" presName="Name0" presStyleCnt="0">
        <dgm:presLayoutVars>
          <dgm:dir/>
          <dgm:resizeHandles val="exact"/>
        </dgm:presLayoutVars>
      </dgm:prSet>
      <dgm:spPr/>
    </dgm:pt>
    <dgm:pt modelId="{DFC7551C-BB73-4438-ADBA-F459A1F680A5}" type="pres">
      <dgm:prSet presAssocID="{B5633BF6-2C18-46A4-A1BD-1B621BBD9CB5}" presName="fgShape" presStyleLbl="fgShp" presStyleIdx="0" presStyleCnt="1" custScaleY="165856"/>
      <dgm:spPr>
        <a:solidFill>
          <a:srgbClr val="00B050"/>
        </a:solidFill>
      </dgm:spPr>
    </dgm:pt>
    <dgm:pt modelId="{ED9A2375-AB8C-47DF-A8C1-78284681194D}" type="pres">
      <dgm:prSet presAssocID="{B5633BF6-2C18-46A4-A1BD-1B621BBD9CB5}" presName="linComp" presStyleCnt="0"/>
      <dgm:spPr/>
    </dgm:pt>
    <dgm:pt modelId="{A91E15FC-FCE9-42FB-90C6-DB1834FAC484}" type="pres">
      <dgm:prSet presAssocID="{70506A46-5F5E-4D5A-8B31-EAAF9403DF1B}" presName="compNode" presStyleCnt="0"/>
      <dgm:spPr/>
    </dgm:pt>
    <dgm:pt modelId="{B72351CD-6968-45CA-9A0B-8DABA183FA5E}" type="pres">
      <dgm:prSet presAssocID="{70506A46-5F5E-4D5A-8B31-EAAF9403DF1B}" presName="bkgdShape" presStyleLbl="node1" presStyleIdx="0" presStyleCnt="3"/>
      <dgm:spPr/>
    </dgm:pt>
    <dgm:pt modelId="{59C5F873-D7D9-40B0-B472-DDD2465A9CDA}" type="pres">
      <dgm:prSet presAssocID="{70506A46-5F5E-4D5A-8B31-EAAF9403DF1B}" presName="nodeTx" presStyleLbl="node1" presStyleIdx="0" presStyleCnt="3">
        <dgm:presLayoutVars>
          <dgm:bulletEnabled val="1"/>
        </dgm:presLayoutVars>
      </dgm:prSet>
      <dgm:spPr/>
    </dgm:pt>
    <dgm:pt modelId="{B16A325A-5633-417D-817D-401671CD7733}" type="pres">
      <dgm:prSet presAssocID="{70506A46-5F5E-4D5A-8B31-EAAF9403DF1B}" presName="invisiNode" presStyleLbl="node1" presStyleIdx="0" presStyleCnt="3"/>
      <dgm:spPr/>
    </dgm:pt>
    <dgm:pt modelId="{147D3F8F-9FE4-4C01-9E42-84B42D245D89}" type="pres">
      <dgm:prSet presAssocID="{70506A46-5F5E-4D5A-8B31-EAAF9403DF1B}" presName="imagNode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appello di laurea con riempimento a tinta unita"/>
        </a:ext>
      </dgm:extLst>
    </dgm:pt>
    <dgm:pt modelId="{52020015-D3D6-4F21-9DDD-35AA9B3246D9}" type="pres">
      <dgm:prSet presAssocID="{568DA275-40CD-42C3-A5A3-45B498B73807}" presName="sibTrans" presStyleLbl="sibTrans2D1" presStyleIdx="0" presStyleCnt="0"/>
      <dgm:spPr/>
    </dgm:pt>
    <dgm:pt modelId="{E0AB381C-90BD-4A31-8052-DFCF65D72E4D}" type="pres">
      <dgm:prSet presAssocID="{FEC5CAFC-B612-4F9F-9B65-8568C4FD8780}" presName="compNode" presStyleCnt="0"/>
      <dgm:spPr/>
    </dgm:pt>
    <dgm:pt modelId="{7E29DFD6-FC5A-48E4-84E1-C78F1FFFFEA0}" type="pres">
      <dgm:prSet presAssocID="{FEC5CAFC-B612-4F9F-9B65-8568C4FD8780}" presName="bkgdShape" presStyleLbl="node1" presStyleIdx="1" presStyleCnt="3" custLinFactNeighborY="663"/>
      <dgm:spPr/>
    </dgm:pt>
    <dgm:pt modelId="{B0C9784A-97A3-42F3-92A0-787A2E7446A9}" type="pres">
      <dgm:prSet presAssocID="{FEC5CAFC-B612-4F9F-9B65-8568C4FD8780}" presName="nodeTx" presStyleLbl="node1" presStyleIdx="1" presStyleCnt="3">
        <dgm:presLayoutVars>
          <dgm:bulletEnabled val="1"/>
        </dgm:presLayoutVars>
      </dgm:prSet>
      <dgm:spPr/>
    </dgm:pt>
    <dgm:pt modelId="{C5011BAF-899C-48EB-920F-568D365B670F}" type="pres">
      <dgm:prSet presAssocID="{FEC5CAFC-B612-4F9F-9B65-8568C4FD8780}" presName="invisiNode" presStyleLbl="node1" presStyleIdx="1" presStyleCnt="3"/>
      <dgm:spPr/>
    </dgm:pt>
    <dgm:pt modelId="{A8B685EE-6B01-42E6-A1DC-EDBFE8486415}" type="pres">
      <dgm:prSet presAssocID="{FEC5CAFC-B612-4F9F-9B65-8568C4FD8780}" presName="imagNode" presStyleLbl="fgImgPlac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Aula contorno"/>
        </a:ext>
      </dgm:extLst>
    </dgm:pt>
    <dgm:pt modelId="{8926F221-0714-40EB-91CC-B39748BAA9B4}" type="pres">
      <dgm:prSet presAssocID="{5CFD879C-5EB6-48FA-B3F1-860F2E9BDCBF}" presName="sibTrans" presStyleLbl="sibTrans2D1" presStyleIdx="0" presStyleCnt="0"/>
      <dgm:spPr/>
    </dgm:pt>
    <dgm:pt modelId="{8F9D7524-008F-4C73-B67F-1AEDF5212E65}" type="pres">
      <dgm:prSet presAssocID="{3B4347A6-C46C-4858-8FC0-054EBD4756F1}" presName="compNode" presStyleCnt="0"/>
      <dgm:spPr/>
    </dgm:pt>
    <dgm:pt modelId="{02F44F4E-1366-4CBA-A10E-F6D8353873E4}" type="pres">
      <dgm:prSet presAssocID="{3B4347A6-C46C-4858-8FC0-054EBD4756F1}" presName="bkgdShape" presStyleLbl="node1" presStyleIdx="2" presStyleCnt="3"/>
      <dgm:spPr/>
    </dgm:pt>
    <dgm:pt modelId="{6548B200-8C44-436B-ADC6-C19A2B4C0CA2}" type="pres">
      <dgm:prSet presAssocID="{3B4347A6-C46C-4858-8FC0-054EBD4756F1}" presName="nodeTx" presStyleLbl="node1" presStyleIdx="2" presStyleCnt="3">
        <dgm:presLayoutVars>
          <dgm:bulletEnabled val="1"/>
        </dgm:presLayoutVars>
      </dgm:prSet>
      <dgm:spPr/>
    </dgm:pt>
    <dgm:pt modelId="{4FC81426-F32F-400E-A5EF-9935CEA9FC87}" type="pres">
      <dgm:prSet presAssocID="{3B4347A6-C46C-4858-8FC0-054EBD4756F1}" presName="invisiNode" presStyleLbl="node1" presStyleIdx="2" presStyleCnt="3"/>
      <dgm:spPr/>
    </dgm:pt>
    <dgm:pt modelId="{88B4BD17-8AF2-40EC-A896-746B602B444B}" type="pres">
      <dgm:prSet presAssocID="{3B4347A6-C46C-4858-8FC0-054EBD4756F1}" presName="imagNode" presStyleLbl="fgImgPlac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Orologio con riempimento a tinta unita"/>
        </a:ext>
      </dgm:extLst>
    </dgm:pt>
  </dgm:ptLst>
  <dgm:cxnLst>
    <dgm:cxn modelId="{88501D06-87D4-4FA2-8D89-F81CC6F2A514}" type="presOf" srcId="{FEC5CAFC-B612-4F9F-9B65-8568C4FD8780}" destId="{B0C9784A-97A3-42F3-92A0-787A2E7446A9}" srcOrd="1" destOrd="0" presId="urn:microsoft.com/office/officeart/2005/8/layout/hList7"/>
    <dgm:cxn modelId="{327E2418-2B30-4E68-A8FE-BD409F7869BA}" type="presOf" srcId="{FEC5CAFC-B612-4F9F-9B65-8568C4FD8780}" destId="{7E29DFD6-FC5A-48E4-84E1-C78F1FFFFEA0}" srcOrd="0" destOrd="0" presId="urn:microsoft.com/office/officeart/2005/8/layout/hList7"/>
    <dgm:cxn modelId="{1300DF18-AE9F-4F7A-BA7D-4DA740EFBDF4}" type="presOf" srcId="{3B4347A6-C46C-4858-8FC0-054EBD4756F1}" destId="{6548B200-8C44-436B-ADC6-C19A2B4C0CA2}" srcOrd="1" destOrd="0" presId="urn:microsoft.com/office/officeart/2005/8/layout/hList7"/>
    <dgm:cxn modelId="{BE87944B-81C6-4BD2-B293-E24B3FDC79DB}" type="presOf" srcId="{568DA275-40CD-42C3-A5A3-45B498B73807}" destId="{52020015-D3D6-4F21-9DDD-35AA9B3246D9}" srcOrd="0" destOrd="0" presId="urn:microsoft.com/office/officeart/2005/8/layout/hList7"/>
    <dgm:cxn modelId="{D7B68A7B-F4A9-4506-94F3-8FF640F79F10}" srcId="{B5633BF6-2C18-46A4-A1BD-1B621BBD9CB5}" destId="{FEC5CAFC-B612-4F9F-9B65-8568C4FD8780}" srcOrd="1" destOrd="0" parTransId="{62F209A7-9BD1-4738-B6F4-5CE4B52BBC02}" sibTransId="{5CFD879C-5EB6-48FA-B3F1-860F2E9BDCBF}"/>
    <dgm:cxn modelId="{44FB6585-25F0-4F8C-BDF1-FC91B14E47CB}" type="presOf" srcId="{70506A46-5F5E-4D5A-8B31-EAAF9403DF1B}" destId="{59C5F873-D7D9-40B0-B472-DDD2465A9CDA}" srcOrd="1" destOrd="0" presId="urn:microsoft.com/office/officeart/2005/8/layout/hList7"/>
    <dgm:cxn modelId="{9D0F6B85-1B57-4690-B189-7AC192FFB5F6}" type="presOf" srcId="{3B4347A6-C46C-4858-8FC0-054EBD4756F1}" destId="{02F44F4E-1366-4CBA-A10E-F6D8353873E4}" srcOrd="0" destOrd="0" presId="urn:microsoft.com/office/officeart/2005/8/layout/hList7"/>
    <dgm:cxn modelId="{E1C42A8B-0F92-451B-9B33-0949462EE3AD}" srcId="{B5633BF6-2C18-46A4-A1BD-1B621BBD9CB5}" destId="{3B4347A6-C46C-4858-8FC0-054EBD4756F1}" srcOrd="2" destOrd="0" parTransId="{DD834CC0-54B1-418D-9B97-0610FAB5FCC0}" sibTransId="{37A1070D-A4DA-42E2-A004-3DF58099A7BF}"/>
    <dgm:cxn modelId="{B2ADCF8F-2360-47C2-9F2F-2AB0EE75A269}" type="presOf" srcId="{B5633BF6-2C18-46A4-A1BD-1B621BBD9CB5}" destId="{3B5270BA-1DF3-4C2F-9AA4-9ABB8754D827}" srcOrd="0" destOrd="0" presId="urn:microsoft.com/office/officeart/2005/8/layout/hList7"/>
    <dgm:cxn modelId="{36C305C2-44CB-450F-99C2-5CB9037C5BDE}" type="presOf" srcId="{70506A46-5F5E-4D5A-8B31-EAAF9403DF1B}" destId="{B72351CD-6968-45CA-9A0B-8DABA183FA5E}" srcOrd="0" destOrd="0" presId="urn:microsoft.com/office/officeart/2005/8/layout/hList7"/>
    <dgm:cxn modelId="{0014A2EC-F237-43B0-9096-DA8E8D20EAEC}" type="presOf" srcId="{5CFD879C-5EB6-48FA-B3F1-860F2E9BDCBF}" destId="{8926F221-0714-40EB-91CC-B39748BAA9B4}" srcOrd="0" destOrd="0" presId="urn:microsoft.com/office/officeart/2005/8/layout/hList7"/>
    <dgm:cxn modelId="{A697B9F8-2804-441F-AAD0-A5DDBE1B80FE}" srcId="{B5633BF6-2C18-46A4-A1BD-1B621BBD9CB5}" destId="{70506A46-5F5E-4D5A-8B31-EAAF9403DF1B}" srcOrd="0" destOrd="0" parTransId="{2C487732-C866-4392-8B1B-42982C7448FF}" sibTransId="{568DA275-40CD-42C3-A5A3-45B498B73807}"/>
    <dgm:cxn modelId="{F03CB797-4499-42BC-B680-BC97BE913C74}" type="presParOf" srcId="{3B5270BA-1DF3-4C2F-9AA4-9ABB8754D827}" destId="{DFC7551C-BB73-4438-ADBA-F459A1F680A5}" srcOrd="0" destOrd="0" presId="urn:microsoft.com/office/officeart/2005/8/layout/hList7"/>
    <dgm:cxn modelId="{B81B82F5-E80F-4EFC-8124-6737C89F2662}" type="presParOf" srcId="{3B5270BA-1DF3-4C2F-9AA4-9ABB8754D827}" destId="{ED9A2375-AB8C-47DF-A8C1-78284681194D}" srcOrd="1" destOrd="0" presId="urn:microsoft.com/office/officeart/2005/8/layout/hList7"/>
    <dgm:cxn modelId="{1CD8AF2C-6EEA-4F17-8D7B-741136C6EDAA}" type="presParOf" srcId="{ED9A2375-AB8C-47DF-A8C1-78284681194D}" destId="{A91E15FC-FCE9-42FB-90C6-DB1834FAC484}" srcOrd="0" destOrd="0" presId="urn:microsoft.com/office/officeart/2005/8/layout/hList7"/>
    <dgm:cxn modelId="{F3214A99-9EDF-44CB-AB31-CA02429FA7CD}" type="presParOf" srcId="{A91E15FC-FCE9-42FB-90C6-DB1834FAC484}" destId="{B72351CD-6968-45CA-9A0B-8DABA183FA5E}" srcOrd="0" destOrd="0" presId="urn:microsoft.com/office/officeart/2005/8/layout/hList7"/>
    <dgm:cxn modelId="{D87AC23E-AE5D-4E5F-B850-BF0D60A2FA8A}" type="presParOf" srcId="{A91E15FC-FCE9-42FB-90C6-DB1834FAC484}" destId="{59C5F873-D7D9-40B0-B472-DDD2465A9CDA}" srcOrd="1" destOrd="0" presId="urn:microsoft.com/office/officeart/2005/8/layout/hList7"/>
    <dgm:cxn modelId="{07F7DBBD-80C0-4991-A0B6-CBD6F851D042}" type="presParOf" srcId="{A91E15FC-FCE9-42FB-90C6-DB1834FAC484}" destId="{B16A325A-5633-417D-817D-401671CD7733}" srcOrd="2" destOrd="0" presId="urn:microsoft.com/office/officeart/2005/8/layout/hList7"/>
    <dgm:cxn modelId="{8F19907F-AD0C-4BC9-9AB5-72F14F23C384}" type="presParOf" srcId="{A91E15FC-FCE9-42FB-90C6-DB1834FAC484}" destId="{147D3F8F-9FE4-4C01-9E42-84B42D245D89}" srcOrd="3" destOrd="0" presId="urn:microsoft.com/office/officeart/2005/8/layout/hList7"/>
    <dgm:cxn modelId="{4E82A92B-87F1-4A8B-B013-E4A1F0D84194}" type="presParOf" srcId="{ED9A2375-AB8C-47DF-A8C1-78284681194D}" destId="{52020015-D3D6-4F21-9DDD-35AA9B3246D9}" srcOrd="1" destOrd="0" presId="urn:microsoft.com/office/officeart/2005/8/layout/hList7"/>
    <dgm:cxn modelId="{DC2982D8-9D94-4714-A78B-95BF3EE9DBEF}" type="presParOf" srcId="{ED9A2375-AB8C-47DF-A8C1-78284681194D}" destId="{E0AB381C-90BD-4A31-8052-DFCF65D72E4D}" srcOrd="2" destOrd="0" presId="urn:microsoft.com/office/officeart/2005/8/layout/hList7"/>
    <dgm:cxn modelId="{F8A2816D-7EFF-4818-816D-371EB062EF97}" type="presParOf" srcId="{E0AB381C-90BD-4A31-8052-DFCF65D72E4D}" destId="{7E29DFD6-FC5A-48E4-84E1-C78F1FFFFEA0}" srcOrd="0" destOrd="0" presId="urn:microsoft.com/office/officeart/2005/8/layout/hList7"/>
    <dgm:cxn modelId="{0D7056D4-D0F8-4BE7-86BD-089646817EDC}" type="presParOf" srcId="{E0AB381C-90BD-4A31-8052-DFCF65D72E4D}" destId="{B0C9784A-97A3-42F3-92A0-787A2E7446A9}" srcOrd="1" destOrd="0" presId="urn:microsoft.com/office/officeart/2005/8/layout/hList7"/>
    <dgm:cxn modelId="{DA81874B-AF54-4E8B-ACB4-635914A78BD7}" type="presParOf" srcId="{E0AB381C-90BD-4A31-8052-DFCF65D72E4D}" destId="{C5011BAF-899C-48EB-920F-568D365B670F}" srcOrd="2" destOrd="0" presId="urn:microsoft.com/office/officeart/2005/8/layout/hList7"/>
    <dgm:cxn modelId="{37465B22-241B-463F-BA1C-D94AD5814C75}" type="presParOf" srcId="{E0AB381C-90BD-4A31-8052-DFCF65D72E4D}" destId="{A8B685EE-6B01-42E6-A1DC-EDBFE8486415}" srcOrd="3" destOrd="0" presId="urn:microsoft.com/office/officeart/2005/8/layout/hList7"/>
    <dgm:cxn modelId="{4B5A35D3-7D71-4076-A235-94365651D78A}" type="presParOf" srcId="{ED9A2375-AB8C-47DF-A8C1-78284681194D}" destId="{8926F221-0714-40EB-91CC-B39748BAA9B4}" srcOrd="3" destOrd="0" presId="urn:microsoft.com/office/officeart/2005/8/layout/hList7"/>
    <dgm:cxn modelId="{220ED855-FE4D-4D23-B0D3-A0932956F749}" type="presParOf" srcId="{ED9A2375-AB8C-47DF-A8C1-78284681194D}" destId="{8F9D7524-008F-4C73-B67F-1AEDF5212E65}" srcOrd="4" destOrd="0" presId="urn:microsoft.com/office/officeart/2005/8/layout/hList7"/>
    <dgm:cxn modelId="{EE550490-99DD-4DC5-ABD9-4F2EC30399DD}" type="presParOf" srcId="{8F9D7524-008F-4C73-B67F-1AEDF5212E65}" destId="{02F44F4E-1366-4CBA-A10E-F6D8353873E4}" srcOrd="0" destOrd="0" presId="urn:microsoft.com/office/officeart/2005/8/layout/hList7"/>
    <dgm:cxn modelId="{0ABFE46E-3134-49B9-A441-9607D377025F}" type="presParOf" srcId="{8F9D7524-008F-4C73-B67F-1AEDF5212E65}" destId="{6548B200-8C44-436B-ADC6-C19A2B4C0CA2}" srcOrd="1" destOrd="0" presId="urn:microsoft.com/office/officeart/2005/8/layout/hList7"/>
    <dgm:cxn modelId="{F86E5D2A-B9BD-442A-A81C-006A0613AD24}" type="presParOf" srcId="{8F9D7524-008F-4C73-B67F-1AEDF5212E65}" destId="{4FC81426-F32F-400E-A5EF-9935CEA9FC87}" srcOrd="2" destOrd="0" presId="urn:microsoft.com/office/officeart/2005/8/layout/hList7"/>
    <dgm:cxn modelId="{C58C26A2-7936-481B-B69B-6CDAB17368CC}" type="presParOf" srcId="{8F9D7524-008F-4C73-B67F-1AEDF5212E65}" destId="{88B4BD17-8AF2-40EC-A896-746B602B444B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64C11FF-FD9D-4212-BB73-B5579B32FE9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C944A454-24BC-4163-9654-0DEEB2FC401E}">
      <dgm:prSet phldrT="[Testo]"/>
      <dgm:spPr>
        <a:solidFill>
          <a:schemeClr val="tx1"/>
        </a:solidFill>
      </dgm:spPr>
      <dgm:t>
        <a:bodyPr/>
        <a:lstStyle/>
        <a:p>
          <a:r>
            <a:rPr lang="it-IT" dirty="0"/>
            <a:t>2. Crescere</a:t>
          </a:r>
        </a:p>
      </dgm:t>
    </dgm:pt>
    <dgm:pt modelId="{3AC801C3-5D0A-40CB-B2E5-A227D204E5F0}" type="parTrans" cxnId="{7D587E34-B64F-4877-8774-51FFC748B064}">
      <dgm:prSet/>
      <dgm:spPr/>
      <dgm:t>
        <a:bodyPr/>
        <a:lstStyle/>
        <a:p>
          <a:endParaRPr lang="it-IT"/>
        </a:p>
      </dgm:t>
    </dgm:pt>
    <dgm:pt modelId="{7BA15534-1020-4482-BA53-4341E20AD7F0}" type="sibTrans" cxnId="{7D587E34-B64F-4877-8774-51FFC748B064}">
      <dgm:prSet/>
      <dgm:spPr/>
      <dgm:t>
        <a:bodyPr/>
        <a:lstStyle/>
        <a:p>
          <a:endParaRPr lang="it-IT"/>
        </a:p>
      </dgm:t>
    </dgm:pt>
    <dgm:pt modelId="{1E7F2958-30AD-4EE3-BB2D-C81ADF0BBBBB}">
      <dgm:prSet phldrT="[Testo]"/>
      <dgm:spPr/>
      <dgm:t>
        <a:bodyPr/>
        <a:lstStyle/>
        <a:p>
          <a:r>
            <a:rPr lang="it-IT" b="1" dirty="0"/>
            <a:t>Risparmia </a:t>
          </a:r>
          <a:r>
            <a:rPr lang="it-IT" dirty="0"/>
            <a:t>per accrescere le competenze</a:t>
          </a:r>
        </a:p>
      </dgm:t>
    </dgm:pt>
    <dgm:pt modelId="{D4DD7E99-232D-4444-A3E3-276F6CD6220A}" type="parTrans" cxnId="{B2916D1A-C4A6-4494-997B-7AD56B10FCA9}">
      <dgm:prSet/>
      <dgm:spPr/>
      <dgm:t>
        <a:bodyPr/>
        <a:lstStyle/>
        <a:p>
          <a:endParaRPr lang="it-IT"/>
        </a:p>
      </dgm:t>
    </dgm:pt>
    <dgm:pt modelId="{8D640941-3BB3-44BC-8D68-58B0E040BA0B}" type="sibTrans" cxnId="{B2916D1A-C4A6-4494-997B-7AD56B10FCA9}">
      <dgm:prSet/>
      <dgm:spPr/>
      <dgm:t>
        <a:bodyPr/>
        <a:lstStyle/>
        <a:p>
          <a:endParaRPr lang="it-IT"/>
        </a:p>
      </dgm:t>
    </dgm:pt>
    <dgm:pt modelId="{BCDD8564-E13C-47DF-BEA3-C972D237080C}">
      <dgm:prSet phldrT="[Testo]"/>
      <dgm:spPr>
        <a:solidFill>
          <a:schemeClr val="tx1"/>
        </a:solidFill>
      </dgm:spPr>
      <dgm:t>
        <a:bodyPr/>
        <a:lstStyle/>
        <a:p>
          <a:r>
            <a:rPr lang="it-IT" dirty="0"/>
            <a:t>2. Formazione</a:t>
          </a:r>
        </a:p>
      </dgm:t>
    </dgm:pt>
    <dgm:pt modelId="{94E2BB1D-175F-4C71-9824-63919361BAFB}" type="parTrans" cxnId="{E90435A1-7442-40EA-AB09-26A91A3CF5F7}">
      <dgm:prSet/>
      <dgm:spPr/>
      <dgm:t>
        <a:bodyPr/>
        <a:lstStyle/>
        <a:p>
          <a:endParaRPr lang="it-IT"/>
        </a:p>
      </dgm:t>
    </dgm:pt>
    <dgm:pt modelId="{562AF66D-408F-4272-AA6C-279C23FC0A45}" type="sibTrans" cxnId="{E90435A1-7442-40EA-AB09-26A91A3CF5F7}">
      <dgm:prSet/>
      <dgm:spPr/>
      <dgm:t>
        <a:bodyPr/>
        <a:lstStyle/>
        <a:p>
          <a:endParaRPr lang="it-IT"/>
        </a:p>
      </dgm:t>
    </dgm:pt>
    <dgm:pt modelId="{B335BC4B-7952-4B9F-ADBA-DF66A83558D2}">
      <dgm:prSet phldrT="[Testo]"/>
      <dgm:spPr/>
      <dgm:t>
        <a:bodyPr/>
        <a:lstStyle/>
        <a:p>
          <a:r>
            <a:rPr lang="it-IT" b="1" dirty="0"/>
            <a:t>Risparmia </a:t>
          </a:r>
          <a:r>
            <a:rPr lang="it-IT" dirty="0"/>
            <a:t>per accrescere le competenze</a:t>
          </a:r>
        </a:p>
      </dgm:t>
    </dgm:pt>
    <dgm:pt modelId="{B4100FD8-51D5-4FB9-9945-DC3CED0B59C4}" type="parTrans" cxnId="{3CCFC167-B845-4010-A5E5-4458C5DF5884}">
      <dgm:prSet/>
      <dgm:spPr/>
      <dgm:t>
        <a:bodyPr/>
        <a:lstStyle/>
        <a:p>
          <a:endParaRPr lang="it-IT"/>
        </a:p>
      </dgm:t>
    </dgm:pt>
    <dgm:pt modelId="{62ECBA6F-DC0E-44BB-9F91-9B4250FC6CC7}" type="sibTrans" cxnId="{3CCFC167-B845-4010-A5E5-4458C5DF5884}">
      <dgm:prSet/>
      <dgm:spPr/>
      <dgm:t>
        <a:bodyPr/>
        <a:lstStyle/>
        <a:p>
          <a:endParaRPr lang="it-IT"/>
        </a:p>
      </dgm:t>
    </dgm:pt>
    <dgm:pt modelId="{8CE255E6-648B-4E39-8946-708F6902E30E}">
      <dgm:prSet phldrT="[Testo]" custT="1"/>
      <dgm:spPr>
        <a:solidFill>
          <a:srgbClr val="0050AA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148590" tIns="148590" rIns="148590" bIns="148590" numCol="1" spcCol="1270" anchor="ctr" anchorCtr="0"/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>
              <a:solidFill>
                <a:prstClr val="white"/>
              </a:solidFill>
              <a:latin typeface="Lidl Font Pro"/>
              <a:ea typeface="+mn-ea"/>
              <a:cs typeface="+mn-cs"/>
            </a:rPr>
            <a:t>3. Convenzioni</a:t>
          </a:r>
        </a:p>
      </dgm:t>
    </dgm:pt>
    <dgm:pt modelId="{537EA732-56F9-4DFD-851C-16BA8ADD9935}" type="parTrans" cxnId="{12EF46EA-A08C-4931-AEF7-FF725F430B0D}">
      <dgm:prSet/>
      <dgm:spPr/>
      <dgm:t>
        <a:bodyPr/>
        <a:lstStyle/>
        <a:p>
          <a:endParaRPr lang="it-IT"/>
        </a:p>
      </dgm:t>
    </dgm:pt>
    <dgm:pt modelId="{9FCEF48D-21B6-4276-ADBA-4E0EAE1C0C9A}" type="sibTrans" cxnId="{12EF46EA-A08C-4931-AEF7-FF725F430B0D}">
      <dgm:prSet/>
      <dgm:spPr/>
      <dgm:t>
        <a:bodyPr/>
        <a:lstStyle/>
        <a:p>
          <a:endParaRPr lang="it-IT"/>
        </a:p>
      </dgm:t>
    </dgm:pt>
    <dgm:pt modelId="{EE2E77FD-D5C6-426B-B826-7404C14D391E}">
      <dgm:prSet phldrT="[Testo]"/>
      <dgm:spPr/>
      <dgm:t>
        <a:bodyPr/>
        <a:lstStyle/>
        <a:p>
          <a:r>
            <a:rPr lang="it-IT" b="1" dirty="0"/>
            <a:t>Sfrutta le potenzialità </a:t>
          </a:r>
          <a:r>
            <a:rPr lang="it-IT" dirty="0"/>
            <a:t>del network</a:t>
          </a:r>
        </a:p>
      </dgm:t>
    </dgm:pt>
    <dgm:pt modelId="{EE26B93F-E437-4065-A3D7-475F5434BC31}" type="parTrans" cxnId="{975CAB9C-878F-4C95-8537-1FA9D2F21CFF}">
      <dgm:prSet/>
      <dgm:spPr/>
      <dgm:t>
        <a:bodyPr/>
        <a:lstStyle/>
        <a:p>
          <a:endParaRPr lang="it-IT"/>
        </a:p>
      </dgm:t>
    </dgm:pt>
    <dgm:pt modelId="{812E83B7-2AD5-4ADF-8C28-11985FD10A83}" type="sibTrans" cxnId="{975CAB9C-878F-4C95-8537-1FA9D2F21CFF}">
      <dgm:prSet/>
      <dgm:spPr/>
      <dgm:t>
        <a:bodyPr/>
        <a:lstStyle/>
        <a:p>
          <a:endParaRPr lang="it-IT"/>
        </a:p>
      </dgm:t>
    </dgm:pt>
    <dgm:pt modelId="{45C5C427-BC8C-4C54-9115-125E6A650D26}" type="pres">
      <dgm:prSet presAssocID="{364C11FF-FD9D-4212-BB73-B5579B32FE9D}" presName="linear" presStyleCnt="0">
        <dgm:presLayoutVars>
          <dgm:animLvl val="lvl"/>
          <dgm:resizeHandles val="exact"/>
        </dgm:presLayoutVars>
      </dgm:prSet>
      <dgm:spPr/>
    </dgm:pt>
    <dgm:pt modelId="{E7F4688A-E129-4D40-93CC-4444A3527BFD}" type="pres">
      <dgm:prSet presAssocID="{C944A454-24BC-4163-9654-0DEEB2FC401E}" presName="parentText" presStyleLbl="node1" presStyleIdx="0" presStyleCnt="3" custLinFactNeighborX="28019">
        <dgm:presLayoutVars>
          <dgm:chMax val="0"/>
          <dgm:bulletEnabled val="1"/>
        </dgm:presLayoutVars>
      </dgm:prSet>
      <dgm:spPr/>
    </dgm:pt>
    <dgm:pt modelId="{6030D4D0-E4F8-4984-9B7D-E22687DE4820}" type="pres">
      <dgm:prSet presAssocID="{C944A454-24BC-4163-9654-0DEEB2FC401E}" presName="childText" presStyleLbl="revTx" presStyleIdx="0" presStyleCnt="3">
        <dgm:presLayoutVars>
          <dgm:bulletEnabled val="1"/>
        </dgm:presLayoutVars>
      </dgm:prSet>
      <dgm:spPr/>
    </dgm:pt>
    <dgm:pt modelId="{F7290B78-ACBE-4728-B443-5B7962CD04F3}" type="pres">
      <dgm:prSet presAssocID="{BCDD8564-E13C-47DF-BEA3-C972D237080C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B33DFCDC-03DD-4996-8402-87CCA88F0A24}" type="pres">
      <dgm:prSet presAssocID="{BCDD8564-E13C-47DF-BEA3-C972D237080C}" presName="childText" presStyleLbl="revTx" presStyleIdx="1" presStyleCnt="3">
        <dgm:presLayoutVars>
          <dgm:bulletEnabled val="1"/>
        </dgm:presLayoutVars>
      </dgm:prSet>
      <dgm:spPr/>
    </dgm:pt>
    <dgm:pt modelId="{988E6670-4AEA-4057-9AFA-3D11BCACC4CF}" type="pres">
      <dgm:prSet presAssocID="{8CE255E6-648B-4E39-8946-708F6902E30E}" presName="parentText" presStyleLbl="node1" presStyleIdx="2" presStyleCnt="3">
        <dgm:presLayoutVars>
          <dgm:chMax val="0"/>
          <dgm:bulletEnabled val="1"/>
        </dgm:presLayoutVars>
      </dgm:prSet>
      <dgm:spPr>
        <a:xfrm>
          <a:off x="0" y="3338387"/>
          <a:ext cx="7568973" cy="935415"/>
        </a:xfrm>
        <a:prstGeom prst="roundRect">
          <a:avLst/>
        </a:prstGeom>
      </dgm:spPr>
    </dgm:pt>
    <dgm:pt modelId="{859294C6-48AA-456E-9414-CE007EF72D6C}" type="pres">
      <dgm:prSet presAssocID="{8CE255E6-648B-4E39-8946-708F6902E30E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B2916D1A-C4A6-4494-997B-7AD56B10FCA9}" srcId="{C944A454-24BC-4163-9654-0DEEB2FC401E}" destId="{1E7F2958-30AD-4EE3-BB2D-C81ADF0BBBBB}" srcOrd="0" destOrd="0" parTransId="{D4DD7E99-232D-4444-A3E3-276F6CD6220A}" sibTransId="{8D640941-3BB3-44BC-8D68-58B0E040BA0B}"/>
    <dgm:cxn modelId="{7D587E34-B64F-4877-8774-51FFC748B064}" srcId="{364C11FF-FD9D-4212-BB73-B5579B32FE9D}" destId="{C944A454-24BC-4163-9654-0DEEB2FC401E}" srcOrd="0" destOrd="0" parTransId="{3AC801C3-5D0A-40CB-B2E5-A227D204E5F0}" sibTransId="{7BA15534-1020-4482-BA53-4341E20AD7F0}"/>
    <dgm:cxn modelId="{53E60563-44A8-4959-B7B4-C7EA59CA1B07}" type="presOf" srcId="{8CE255E6-648B-4E39-8946-708F6902E30E}" destId="{988E6670-4AEA-4057-9AFA-3D11BCACC4CF}" srcOrd="0" destOrd="0" presId="urn:microsoft.com/office/officeart/2005/8/layout/vList2"/>
    <dgm:cxn modelId="{3CCFC167-B845-4010-A5E5-4458C5DF5884}" srcId="{BCDD8564-E13C-47DF-BEA3-C972D237080C}" destId="{B335BC4B-7952-4B9F-ADBA-DF66A83558D2}" srcOrd="0" destOrd="0" parTransId="{B4100FD8-51D5-4FB9-9945-DC3CED0B59C4}" sibTransId="{62ECBA6F-DC0E-44BB-9F91-9B4250FC6CC7}"/>
    <dgm:cxn modelId="{4299B96E-A34A-406E-97AB-EA9EC44AC46D}" type="presOf" srcId="{364C11FF-FD9D-4212-BB73-B5579B32FE9D}" destId="{45C5C427-BC8C-4C54-9115-125E6A650D26}" srcOrd="0" destOrd="0" presId="urn:microsoft.com/office/officeart/2005/8/layout/vList2"/>
    <dgm:cxn modelId="{4FA60152-ABEF-4611-86D5-A31CEE22EE74}" type="presOf" srcId="{B335BC4B-7952-4B9F-ADBA-DF66A83558D2}" destId="{B33DFCDC-03DD-4996-8402-87CCA88F0A24}" srcOrd="0" destOrd="0" presId="urn:microsoft.com/office/officeart/2005/8/layout/vList2"/>
    <dgm:cxn modelId="{F158B053-049B-487F-A3C3-E8DC0E7A280A}" type="presOf" srcId="{EE2E77FD-D5C6-426B-B826-7404C14D391E}" destId="{859294C6-48AA-456E-9414-CE007EF72D6C}" srcOrd="0" destOrd="0" presId="urn:microsoft.com/office/officeart/2005/8/layout/vList2"/>
    <dgm:cxn modelId="{DF529190-5C24-4ECA-9A8D-815E79CEA81A}" type="presOf" srcId="{BCDD8564-E13C-47DF-BEA3-C972D237080C}" destId="{F7290B78-ACBE-4728-B443-5B7962CD04F3}" srcOrd="0" destOrd="0" presId="urn:microsoft.com/office/officeart/2005/8/layout/vList2"/>
    <dgm:cxn modelId="{975CAB9C-878F-4C95-8537-1FA9D2F21CFF}" srcId="{8CE255E6-648B-4E39-8946-708F6902E30E}" destId="{EE2E77FD-D5C6-426B-B826-7404C14D391E}" srcOrd="0" destOrd="0" parTransId="{EE26B93F-E437-4065-A3D7-475F5434BC31}" sibTransId="{812E83B7-2AD5-4ADF-8C28-11985FD10A83}"/>
    <dgm:cxn modelId="{E90435A1-7442-40EA-AB09-26A91A3CF5F7}" srcId="{364C11FF-FD9D-4212-BB73-B5579B32FE9D}" destId="{BCDD8564-E13C-47DF-BEA3-C972D237080C}" srcOrd="1" destOrd="0" parTransId="{94E2BB1D-175F-4C71-9824-63919361BAFB}" sibTransId="{562AF66D-408F-4272-AA6C-279C23FC0A45}"/>
    <dgm:cxn modelId="{D6F088A8-FA4C-4BB5-A242-99651AE8A9F7}" type="presOf" srcId="{C944A454-24BC-4163-9654-0DEEB2FC401E}" destId="{E7F4688A-E129-4D40-93CC-4444A3527BFD}" srcOrd="0" destOrd="0" presId="urn:microsoft.com/office/officeart/2005/8/layout/vList2"/>
    <dgm:cxn modelId="{12EF46EA-A08C-4931-AEF7-FF725F430B0D}" srcId="{364C11FF-FD9D-4212-BB73-B5579B32FE9D}" destId="{8CE255E6-648B-4E39-8946-708F6902E30E}" srcOrd="2" destOrd="0" parTransId="{537EA732-56F9-4DFD-851C-16BA8ADD9935}" sibTransId="{9FCEF48D-21B6-4276-ADBA-4E0EAE1C0C9A}"/>
    <dgm:cxn modelId="{BFA92BF8-07BC-41E1-A781-E89679845441}" type="presOf" srcId="{1E7F2958-30AD-4EE3-BB2D-C81ADF0BBBBB}" destId="{6030D4D0-E4F8-4984-9B7D-E22687DE4820}" srcOrd="0" destOrd="0" presId="urn:microsoft.com/office/officeart/2005/8/layout/vList2"/>
    <dgm:cxn modelId="{455AE2CB-187D-47B5-91A1-C884CF0FEF85}" type="presParOf" srcId="{45C5C427-BC8C-4C54-9115-125E6A650D26}" destId="{E7F4688A-E129-4D40-93CC-4444A3527BFD}" srcOrd="0" destOrd="0" presId="urn:microsoft.com/office/officeart/2005/8/layout/vList2"/>
    <dgm:cxn modelId="{5D72AA62-1459-4A96-9F68-5A46F12C07E1}" type="presParOf" srcId="{45C5C427-BC8C-4C54-9115-125E6A650D26}" destId="{6030D4D0-E4F8-4984-9B7D-E22687DE4820}" srcOrd="1" destOrd="0" presId="urn:microsoft.com/office/officeart/2005/8/layout/vList2"/>
    <dgm:cxn modelId="{4136A96D-4A18-4DFC-9965-EE642824C15B}" type="presParOf" srcId="{45C5C427-BC8C-4C54-9115-125E6A650D26}" destId="{F7290B78-ACBE-4728-B443-5B7962CD04F3}" srcOrd="2" destOrd="0" presId="urn:microsoft.com/office/officeart/2005/8/layout/vList2"/>
    <dgm:cxn modelId="{B704A678-2732-46E3-BCCA-D58862D0A2F5}" type="presParOf" srcId="{45C5C427-BC8C-4C54-9115-125E6A650D26}" destId="{B33DFCDC-03DD-4996-8402-87CCA88F0A24}" srcOrd="3" destOrd="0" presId="urn:microsoft.com/office/officeart/2005/8/layout/vList2"/>
    <dgm:cxn modelId="{4A5ABAE2-A858-4EF2-81D3-191A41B8FE02}" type="presParOf" srcId="{45C5C427-BC8C-4C54-9115-125E6A650D26}" destId="{988E6670-4AEA-4057-9AFA-3D11BCACC4CF}" srcOrd="4" destOrd="0" presId="urn:microsoft.com/office/officeart/2005/8/layout/vList2"/>
    <dgm:cxn modelId="{611AECAF-AC96-4016-80D4-2DE845BF810F}" type="presParOf" srcId="{45C5C427-BC8C-4C54-9115-125E6A650D26}" destId="{859294C6-48AA-456E-9414-CE007EF72D6C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364C11FF-FD9D-4212-BB73-B5579B32FE9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C944A454-24BC-4163-9654-0DEEB2FC401E}">
      <dgm:prSet phldrT="[Testo]"/>
      <dgm:spPr>
        <a:solidFill>
          <a:schemeClr val="tx1"/>
        </a:solidFill>
      </dgm:spPr>
      <dgm:t>
        <a:bodyPr/>
        <a:lstStyle/>
        <a:p>
          <a:r>
            <a:rPr lang="it-IT" dirty="0"/>
            <a:t>3. Conoscere</a:t>
          </a:r>
        </a:p>
      </dgm:t>
    </dgm:pt>
    <dgm:pt modelId="{3AC801C3-5D0A-40CB-B2E5-A227D204E5F0}" type="parTrans" cxnId="{7D587E34-B64F-4877-8774-51FFC748B064}">
      <dgm:prSet/>
      <dgm:spPr/>
      <dgm:t>
        <a:bodyPr/>
        <a:lstStyle/>
        <a:p>
          <a:endParaRPr lang="it-IT"/>
        </a:p>
      </dgm:t>
    </dgm:pt>
    <dgm:pt modelId="{7BA15534-1020-4482-BA53-4341E20AD7F0}" type="sibTrans" cxnId="{7D587E34-B64F-4877-8774-51FFC748B064}">
      <dgm:prSet/>
      <dgm:spPr/>
      <dgm:t>
        <a:bodyPr/>
        <a:lstStyle/>
        <a:p>
          <a:endParaRPr lang="it-IT"/>
        </a:p>
      </dgm:t>
    </dgm:pt>
    <dgm:pt modelId="{1E7F2958-30AD-4EE3-BB2D-C81ADF0BBBBB}">
      <dgm:prSet phldrT="[Testo]"/>
      <dgm:spPr/>
      <dgm:t>
        <a:bodyPr/>
        <a:lstStyle/>
        <a:p>
          <a:r>
            <a:rPr lang="it-IT" dirty="0"/>
            <a:t>Hai </a:t>
          </a:r>
          <a:r>
            <a:rPr lang="it-IT" b="1" dirty="0"/>
            <a:t>news utili </a:t>
          </a:r>
          <a:r>
            <a:rPr lang="it-IT" dirty="0"/>
            <a:t>per la tua attività</a:t>
          </a:r>
        </a:p>
      </dgm:t>
    </dgm:pt>
    <dgm:pt modelId="{D4DD7E99-232D-4444-A3E3-276F6CD6220A}" type="parTrans" cxnId="{B2916D1A-C4A6-4494-997B-7AD56B10FCA9}">
      <dgm:prSet/>
      <dgm:spPr/>
      <dgm:t>
        <a:bodyPr/>
        <a:lstStyle/>
        <a:p>
          <a:endParaRPr lang="it-IT"/>
        </a:p>
      </dgm:t>
    </dgm:pt>
    <dgm:pt modelId="{8D640941-3BB3-44BC-8D68-58B0E040BA0B}" type="sibTrans" cxnId="{B2916D1A-C4A6-4494-997B-7AD56B10FCA9}">
      <dgm:prSet/>
      <dgm:spPr/>
      <dgm:t>
        <a:bodyPr/>
        <a:lstStyle/>
        <a:p>
          <a:endParaRPr lang="it-IT"/>
        </a:p>
      </dgm:t>
    </dgm:pt>
    <dgm:pt modelId="{BCDD8564-E13C-47DF-BEA3-C972D237080C}">
      <dgm:prSet phldrT="[Testo]"/>
      <dgm:spPr>
        <a:solidFill>
          <a:schemeClr val="tx1"/>
        </a:solidFill>
      </dgm:spPr>
      <dgm:t>
        <a:bodyPr/>
        <a:lstStyle/>
        <a:p>
          <a:r>
            <a:rPr lang="it-IT" dirty="0"/>
            <a:t>2. Formazione</a:t>
          </a:r>
        </a:p>
      </dgm:t>
    </dgm:pt>
    <dgm:pt modelId="{94E2BB1D-175F-4C71-9824-63919361BAFB}" type="parTrans" cxnId="{E90435A1-7442-40EA-AB09-26A91A3CF5F7}">
      <dgm:prSet/>
      <dgm:spPr/>
      <dgm:t>
        <a:bodyPr/>
        <a:lstStyle/>
        <a:p>
          <a:endParaRPr lang="it-IT"/>
        </a:p>
      </dgm:t>
    </dgm:pt>
    <dgm:pt modelId="{562AF66D-408F-4272-AA6C-279C23FC0A45}" type="sibTrans" cxnId="{E90435A1-7442-40EA-AB09-26A91A3CF5F7}">
      <dgm:prSet/>
      <dgm:spPr/>
      <dgm:t>
        <a:bodyPr/>
        <a:lstStyle/>
        <a:p>
          <a:endParaRPr lang="it-IT"/>
        </a:p>
      </dgm:t>
    </dgm:pt>
    <dgm:pt modelId="{B335BC4B-7952-4B9F-ADBA-DF66A83558D2}">
      <dgm:prSet phldrT="[Testo]"/>
      <dgm:spPr/>
      <dgm:t>
        <a:bodyPr/>
        <a:lstStyle/>
        <a:p>
          <a:r>
            <a:rPr lang="it-IT" b="1" dirty="0"/>
            <a:t>Risparmia </a:t>
          </a:r>
          <a:r>
            <a:rPr lang="it-IT" dirty="0"/>
            <a:t>per accrescere le competenze</a:t>
          </a:r>
        </a:p>
      </dgm:t>
    </dgm:pt>
    <dgm:pt modelId="{B4100FD8-51D5-4FB9-9945-DC3CED0B59C4}" type="parTrans" cxnId="{3CCFC167-B845-4010-A5E5-4458C5DF5884}">
      <dgm:prSet/>
      <dgm:spPr/>
      <dgm:t>
        <a:bodyPr/>
        <a:lstStyle/>
        <a:p>
          <a:endParaRPr lang="it-IT"/>
        </a:p>
      </dgm:t>
    </dgm:pt>
    <dgm:pt modelId="{62ECBA6F-DC0E-44BB-9F91-9B4250FC6CC7}" type="sibTrans" cxnId="{3CCFC167-B845-4010-A5E5-4458C5DF5884}">
      <dgm:prSet/>
      <dgm:spPr/>
      <dgm:t>
        <a:bodyPr/>
        <a:lstStyle/>
        <a:p>
          <a:endParaRPr lang="it-IT"/>
        </a:p>
      </dgm:t>
    </dgm:pt>
    <dgm:pt modelId="{8CE255E6-648B-4E39-8946-708F6902E30E}">
      <dgm:prSet phldrT="[Testo]" custT="1"/>
      <dgm:spPr>
        <a:solidFill>
          <a:srgbClr val="0050AA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148590" tIns="148590" rIns="148590" bIns="148590" numCol="1" spcCol="1270" anchor="ctr" anchorCtr="0"/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>
              <a:solidFill>
                <a:prstClr val="white"/>
              </a:solidFill>
              <a:latin typeface="Lidl Font Pro"/>
              <a:ea typeface="+mn-ea"/>
              <a:cs typeface="+mn-cs"/>
            </a:rPr>
            <a:t>3. Convenzioni</a:t>
          </a:r>
        </a:p>
      </dgm:t>
    </dgm:pt>
    <dgm:pt modelId="{537EA732-56F9-4DFD-851C-16BA8ADD9935}" type="parTrans" cxnId="{12EF46EA-A08C-4931-AEF7-FF725F430B0D}">
      <dgm:prSet/>
      <dgm:spPr/>
      <dgm:t>
        <a:bodyPr/>
        <a:lstStyle/>
        <a:p>
          <a:endParaRPr lang="it-IT"/>
        </a:p>
      </dgm:t>
    </dgm:pt>
    <dgm:pt modelId="{9FCEF48D-21B6-4276-ADBA-4E0EAE1C0C9A}" type="sibTrans" cxnId="{12EF46EA-A08C-4931-AEF7-FF725F430B0D}">
      <dgm:prSet/>
      <dgm:spPr/>
      <dgm:t>
        <a:bodyPr/>
        <a:lstStyle/>
        <a:p>
          <a:endParaRPr lang="it-IT"/>
        </a:p>
      </dgm:t>
    </dgm:pt>
    <dgm:pt modelId="{EE2E77FD-D5C6-426B-B826-7404C14D391E}">
      <dgm:prSet phldrT="[Testo]"/>
      <dgm:spPr/>
      <dgm:t>
        <a:bodyPr/>
        <a:lstStyle/>
        <a:p>
          <a:r>
            <a:rPr lang="it-IT" b="1" dirty="0"/>
            <a:t>Sfrutta le potenzialità </a:t>
          </a:r>
          <a:r>
            <a:rPr lang="it-IT" dirty="0"/>
            <a:t>del network</a:t>
          </a:r>
        </a:p>
      </dgm:t>
    </dgm:pt>
    <dgm:pt modelId="{EE26B93F-E437-4065-A3D7-475F5434BC31}" type="parTrans" cxnId="{975CAB9C-878F-4C95-8537-1FA9D2F21CFF}">
      <dgm:prSet/>
      <dgm:spPr/>
      <dgm:t>
        <a:bodyPr/>
        <a:lstStyle/>
        <a:p>
          <a:endParaRPr lang="it-IT"/>
        </a:p>
      </dgm:t>
    </dgm:pt>
    <dgm:pt modelId="{812E83B7-2AD5-4ADF-8C28-11985FD10A83}" type="sibTrans" cxnId="{975CAB9C-878F-4C95-8537-1FA9D2F21CFF}">
      <dgm:prSet/>
      <dgm:spPr/>
      <dgm:t>
        <a:bodyPr/>
        <a:lstStyle/>
        <a:p>
          <a:endParaRPr lang="it-IT"/>
        </a:p>
      </dgm:t>
    </dgm:pt>
    <dgm:pt modelId="{45C5C427-BC8C-4C54-9115-125E6A650D26}" type="pres">
      <dgm:prSet presAssocID="{364C11FF-FD9D-4212-BB73-B5579B32FE9D}" presName="linear" presStyleCnt="0">
        <dgm:presLayoutVars>
          <dgm:animLvl val="lvl"/>
          <dgm:resizeHandles val="exact"/>
        </dgm:presLayoutVars>
      </dgm:prSet>
      <dgm:spPr/>
    </dgm:pt>
    <dgm:pt modelId="{E7F4688A-E129-4D40-93CC-4444A3527BFD}" type="pres">
      <dgm:prSet presAssocID="{C944A454-24BC-4163-9654-0DEEB2FC401E}" presName="parentText" presStyleLbl="node1" presStyleIdx="0" presStyleCnt="3" custLinFactNeighborX="28019">
        <dgm:presLayoutVars>
          <dgm:chMax val="0"/>
          <dgm:bulletEnabled val="1"/>
        </dgm:presLayoutVars>
      </dgm:prSet>
      <dgm:spPr/>
    </dgm:pt>
    <dgm:pt modelId="{6030D4D0-E4F8-4984-9B7D-E22687DE4820}" type="pres">
      <dgm:prSet presAssocID="{C944A454-24BC-4163-9654-0DEEB2FC401E}" presName="childText" presStyleLbl="revTx" presStyleIdx="0" presStyleCnt="3">
        <dgm:presLayoutVars>
          <dgm:bulletEnabled val="1"/>
        </dgm:presLayoutVars>
      </dgm:prSet>
      <dgm:spPr/>
    </dgm:pt>
    <dgm:pt modelId="{F7290B78-ACBE-4728-B443-5B7962CD04F3}" type="pres">
      <dgm:prSet presAssocID="{BCDD8564-E13C-47DF-BEA3-C972D237080C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B33DFCDC-03DD-4996-8402-87CCA88F0A24}" type="pres">
      <dgm:prSet presAssocID="{BCDD8564-E13C-47DF-BEA3-C972D237080C}" presName="childText" presStyleLbl="revTx" presStyleIdx="1" presStyleCnt="3">
        <dgm:presLayoutVars>
          <dgm:bulletEnabled val="1"/>
        </dgm:presLayoutVars>
      </dgm:prSet>
      <dgm:spPr/>
    </dgm:pt>
    <dgm:pt modelId="{988E6670-4AEA-4057-9AFA-3D11BCACC4CF}" type="pres">
      <dgm:prSet presAssocID="{8CE255E6-648B-4E39-8946-708F6902E30E}" presName="parentText" presStyleLbl="node1" presStyleIdx="2" presStyleCnt="3">
        <dgm:presLayoutVars>
          <dgm:chMax val="0"/>
          <dgm:bulletEnabled val="1"/>
        </dgm:presLayoutVars>
      </dgm:prSet>
      <dgm:spPr>
        <a:xfrm>
          <a:off x="0" y="3338387"/>
          <a:ext cx="7568973" cy="935415"/>
        </a:xfrm>
        <a:prstGeom prst="roundRect">
          <a:avLst/>
        </a:prstGeom>
      </dgm:spPr>
    </dgm:pt>
    <dgm:pt modelId="{859294C6-48AA-456E-9414-CE007EF72D6C}" type="pres">
      <dgm:prSet presAssocID="{8CE255E6-648B-4E39-8946-708F6902E30E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B2916D1A-C4A6-4494-997B-7AD56B10FCA9}" srcId="{C944A454-24BC-4163-9654-0DEEB2FC401E}" destId="{1E7F2958-30AD-4EE3-BB2D-C81ADF0BBBBB}" srcOrd="0" destOrd="0" parTransId="{D4DD7E99-232D-4444-A3E3-276F6CD6220A}" sibTransId="{8D640941-3BB3-44BC-8D68-58B0E040BA0B}"/>
    <dgm:cxn modelId="{7D587E34-B64F-4877-8774-51FFC748B064}" srcId="{364C11FF-FD9D-4212-BB73-B5579B32FE9D}" destId="{C944A454-24BC-4163-9654-0DEEB2FC401E}" srcOrd="0" destOrd="0" parTransId="{3AC801C3-5D0A-40CB-B2E5-A227D204E5F0}" sibTransId="{7BA15534-1020-4482-BA53-4341E20AD7F0}"/>
    <dgm:cxn modelId="{53E60563-44A8-4959-B7B4-C7EA59CA1B07}" type="presOf" srcId="{8CE255E6-648B-4E39-8946-708F6902E30E}" destId="{988E6670-4AEA-4057-9AFA-3D11BCACC4CF}" srcOrd="0" destOrd="0" presId="urn:microsoft.com/office/officeart/2005/8/layout/vList2"/>
    <dgm:cxn modelId="{3CCFC167-B845-4010-A5E5-4458C5DF5884}" srcId="{BCDD8564-E13C-47DF-BEA3-C972D237080C}" destId="{B335BC4B-7952-4B9F-ADBA-DF66A83558D2}" srcOrd="0" destOrd="0" parTransId="{B4100FD8-51D5-4FB9-9945-DC3CED0B59C4}" sibTransId="{62ECBA6F-DC0E-44BB-9F91-9B4250FC6CC7}"/>
    <dgm:cxn modelId="{4299B96E-A34A-406E-97AB-EA9EC44AC46D}" type="presOf" srcId="{364C11FF-FD9D-4212-BB73-B5579B32FE9D}" destId="{45C5C427-BC8C-4C54-9115-125E6A650D26}" srcOrd="0" destOrd="0" presId="urn:microsoft.com/office/officeart/2005/8/layout/vList2"/>
    <dgm:cxn modelId="{4FA60152-ABEF-4611-86D5-A31CEE22EE74}" type="presOf" srcId="{B335BC4B-7952-4B9F-ADBA-DF66A83558D2}" destId="{B33DFCDC-03DD-4996-8402-87CCA88F0A24}" srcOrd="0" destOrd="0" presId="urn:microsoft.com/office/officeart/2005/8/layout/vList2"/>
    <dgm:cxn modelId="{F158B053-049B-487F-A3C3-E8DC0E7A280A}" type="presOf" srcId="{EE2E77FD-D5C6-426B-B826-7404C14D391E}" destId="{859294C6-48AA-456E-9414-CE007EF72D6C}" srcOrd="0" destOrd="0" presId="urn:microsoft.com/office/officeart/2005/8/layout/vList2"/>
    <dgm:cxn modelId="{DF529190-5C24-4ECA-9A8D-815E79CEA81A}" type="presOf" srcId="{BCDD8564-E13C-47DF-BEA3-C972D237080C}" destId="{F7290B78-ACBE-4728-B443-5B7962CD04F3}" srcOrd="0" destOrd="0" presId="urn:microsoft.com/office/officeart/2005/8/layout/vList2"/>
    <dgm:cxn modelId="{975CAB9C-878F-4C95-8537-1FA9D2F21CFF}" srcId="{8CE255E6-648B-4E39-8946-708F6902E30E}" destId="{EE2E77FD-D5C6-426B-B826-7404C14D391E}" srcOrd="0" destOrd="0" parTransId="{EE26B93F-E437-4065-A3D7-475F5434BC31}" sibTransId="{812E83B7-2AD5-4ADF-8C28-11985FD10A83}"/>
    <dgm:cxn modelId="{E90435A1-7442-40EA-AB09-26A91A3CF5F7}" srcId="{364C11FF-FD9D-4212-BB73-B5579B32FE9D}" destId="{BCDD8564-E13C-47DF-BEA3-C972D237080C}" srcOrd="1" destOrd="0" parTransId="{94E2BB1D-175F-4C71-9824-63919361BAFB}" sibTransId="{562AF66D-408F-4272-AA6C-279C23FC0A45}"/>
    <dgm:cxn modelId="{D6F088A8-FA4C-4BB5-A242-99651AE8A9F7}" type="presOf" srcId="{C944A454-24BC-4163-9654-0DEEB2FC401E}" destId="{E7F4688A-E129-4D40-93CC-4444A3527BFD}" srcOrd="0" destOrd="0" presId="urn:microsoft.com/office/officeart/2005/8/layout/vList2"/>
    <dgm:cxn modelId="{12EF46EA-A08C-4931-AEF7-FF725F430B0D}" srcId="{364C11FF-FD9D-4212-BB73-B5579B32FE9D}" destId="{8CE255E6-648B-4E39-8946-708F6902E30E}" srcOrd="2" destOrd="0" parTransId="{537EA732-56F9-4DFD-851C-16BA8ADD9935}" sibTransId="{9FCEF48D-21B6-4276-ADBA-4E0EAE1C0C9A}"/>
    <dgm:cxn modelId="{BFA92BF8-07BC-41E1-A781-E89679845441}" type="presOf" srcId="{1E7F2958-30AD-4EE3-BB2D-C81ADF0BBBBB}" destId="{6030D4D0-E4F8-4984-9B7D-E22687DE4820}" srcOrd="0" destOrd="0" presId="urn:microsoft.com/office/officeart/2005/8/layout/vList2"/>
    <dgm:cxn modelId="{455AE2CB-187D-47B5-91A1-C884CF0FEF85}" type="presParOf" srcId="{45C5C427-BC8C-4C54-9115-125E6A650D26}" destId="{E7F4688A-E129-4D40-93CC-4444A3527BFD}" srcOrd="0" destOrd="0" presId="urn:microsoft.com/office/officeart/2005/8/layout/vList2"/>
    <dgm:cxn modelId="{5D72AA62-1459-4A96-9F68-5A46F12C07E1}" type="presParOf" srcId="{45C5C427-BC8C-4C54-9115-125E6A650D26}" destId="{6030D4D0-E4F8-4984-9B7D-E22687DE4820}" srcOrd="1" destOrd="0" presId="urn:microsoft.com/office/officeart/2005/8/layout/vList2"/>
    <dgm:cxn modelId="{4136A96D-4A18-4DFC-9965-EE642824C15B}" type="presParOf" srcId="{45C5C427-BC8C-4C54-9115-125E6A650D26}" destId="{F7290B78-ACBE-4728-B443-5B7962CD04F3}" srcOrd="2" destOrd="0" presId="urn:microsoft.com/office/officeart/2005/8/layout/vList2"/>
    <dgm:cxn modelId="{B704A678-2732-46E3-BCCA-D58862D0A2F5}" type="presParOf" srcId="{45C5C427-BC8C-4C54-9115-125E6A650D26}" destId="{B33DFCDC-03DD-4996-8402-87CCA88F0A24}" srcOrd="3" destOrd="0" presId="urn:microsoft.com/office/officeart/2005/8/layout/vList2"/>
    <dgm:cxn modelId="{4A5ABAE2-A858-4EF2-81D3-191A41B8FE02}" type="presParOf" srcId="{45C5C427-BC8C-4C54-9115-125E6A650D26}" destId="{988E6670-4AEA-4057-9AFA-3D11BCACC4CF}" srcOrd="4" destOrd="0" presId="urn:microsoft.com/office/officeart/2005/8/layout/vList2"/>
    <dgm:cxn modelId="{611AECAF-AC96-4016-80D4-2DE845BF810F}" type="presParOf" srcId="{45C5C427-BC8C-4C54-9115-125E6A650D26}" destId="{859294C6-48AA-456E-9414-CE007EF72D6C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364C11FF-FD9D-4212-BB73-B5579B32FE9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C944A454-24BC-4163-9654-0DEEB2FC401E}">
      <dgm:prSet phldrT="[Testo]"/>
      <dgm:spPr>
        <a:solidFill>
          <a:schemeClr val="tx1"/>
        </a:solidFill>
      </dgm:spPr>
      <dgm:t>
        <a:bodyPr/>
        <a:lstStyle/>
        <a:p>
          <a:r>
            <a:rPr lang="it-IT" dirty="0"/>
            <a:t>3. Conoscere </a:t>
          </a:r>
        </a:p>
      </dgm:t>
    </dgm:pt>
    <dgm:pt modelId="{3AC801C3-5D0A-40CB-B2E5-A227D204E5F0}" type="parTrans" cxnId="{7D587E34-B64F-4877-8774-51FFC748B064}">
      <dgm:prSet/>
      <dgm:spPr/>
      <dgm:t>
        <a:bodyPr/>
        <a:lstStyle/>
        <a:p>
          <a:endParaRPr lang="it-IT"/>
        </a:p>
      </dgm:t>
    </dgm:pt>
    <dgm:pt modelId="{7BA15534-1020-4482-BA53-4341E20AD7F0}" type="sibTrans" cxnId="{7D587E34-B64F-4877-8774-51FFC748B064}">
      <dgm:prSet/>
      <dgm:spPr/>
      <dgm:t>
        <a:bodyPr/>
        <a:lstStyle/>
        <a:p>
          <a:endParaRPr lang="it-IT"/>
        </a:p>
      </dgm:t>
    </dgm:pt>
    <dgm:pt modelId="{1E7F2958-30AD-4EE3-BB2D-C81ADF0BBBBB}">
      <dgm:prSet phldrT="[Testo]"/>
      <dgm:spPr/>
      <dgm:t>
        <a:bodyPr/>
        <a:lstStyle/>
        <a:p>
          <a:r>
            <a:rPr lang="it-IT" dirty="0"/>
            <a:t>Hai </a:t>
          </a:r>
          <a:r>
            <a:rPr lang="it-IT" b="1" dirty="0"/>
            <a:t>news utili </a:t>
          </a:r>
          <a:r>
            <a:rPr lang="it-IT" dirty="0"/>
            <a:t>a portata di un clic</a:t>
          </a:r>
        </a:p>
      </dgm:t>
    </dgm:pt>
    <dgm:pt modelId="{D4DD7E99-232D-4444-A3E3-276F6CD6220A}" type="parTrans" cxnId="{B2916D1A-C4A6-4494-997B-7AD56B10FCA9}">
      <dgm:prSet/>
      <dgm:spPr/>
      <dgm:t>
        <a:bodyPr/>
        <a:lstStyle/>
        <a:p>
          <a:endParaRPr lang="it-IT"/>
        </a:p>
      </dgm:t>
    </dgm:pt>
    <dgm:pt modelId="{8D640941-3BB3-44BC-8D68-58B0E040BA0B}" type="sibTrans" cxnId="{B2916D1A-C4A6-4494-997B-7AD56B10FCA9}">
      <dgm:prSet/>
      <dgm:spPr/>
      <dgm:t>
        <a:bodyPr/>
        <a:lstStyle/>
        <a:p>
          <a:endParaRPr lang="it-IT"/>
        </a:p>
      </dgm:t>
    </dgm:pt>
    <dgm:pt modelId="{BCDD8564-E13C-47DF-BEA3-C972D237080C}">
      <dgm:prSet phldrT="[Testo]"/>
      <dgm:spPr>
        <a:solidFill>
          <a:schemeClr val="tx1"/>
        </a:solidFill>
      </dgm:spPr>
      <dgm:t>
        <a:bodyPr/>
        <a:lstStyle/>
        <a:p>
          <a:r>
            <a:rPr lang="it-IT" dirty="0"/>
            <a:t>2. Formazione</a:t>
          </a:r>
        </a:p>
      </dgm:t>
    </dgm:pt>
    <dgm:pt modelId="{94E2BB1D-175F-4C71-9824-63919361BAFB}" type="parTrans" cxnId="{E90435A1-7442-40EA-AB09-26A91A3CF5F7}">
      <dgm:prSet/>
      <dgm:spPr/>
      <dgm:t>
        <a:bodyPr/>
        <a:lstStyle/>
        <a:p>
          <a:endParaRPr lang="it-IT"/>
        </a:p>
      </dgm:t>
    </dgm:pt>
    <dgm:pt modelId="{562AF66D-408F-4272-AA6C-279C23FC0A45}" type="sibTrans" cxnId="{E90435A1-7442-40EA-AB09-26A91A3CF5F7}">
      <dgm:prSet/>
      <dgm:spPr/>
      <dgm:t>
        <a:bodyPr/>
        <a:lstStyle/>
        <a:p>
          <a:endParaRPr lang="it-IT"/>
        </a:p>
      </dgm:t>
    </dgm:pt>
    <dgm:pt modelId="{B335BC4B-7952-4B9F-ADBA-DF66A83558D2}">
      <dgm:prSet phldrT="[Testo]"/>
      <dgm:spPr/>
      <dgm:t>
        <a:bodyPr/>
        <a:lstStyle/>
        <a:p>
          <a:r>
            <a:rPr lang="it-IT" b="1" dirty="0"/>
            <a:t>Risparmia </a:t>
          </a:r>
          <a:r>
            <a:rPr lang="it-IT" dirty="0"/>
            <a:t>per accrescere le competenze</a:t>
          </a:r>
        </a:p>
      </dgm:t>
    </dgm:pt>
    <dgm:pt modelId="{B4100FD8-51D5-4FB9-9945-DC3CED0B59C4}" type="parTrans" cxnId="{3CCFC167-B845-4010-A5E5-4458C5DF5884}">
      <dgm:prSet/>
      <dgm:spPr/>
      <dgm:t>
        <a:bodyPr/>
        <a:lstStyle/>
        <a:p>
          <a:endParaRPr lang="it-IT"/>
        </a:p>
      </dgm:t>
    </dgm:pt>
    <dgm:pt modelId="{62ECBA6F-DC0E-44BB-9F91-9B4250FC6CC7}" type="sibTrans" cxnId="{3CCFC167-B845-4010-A5E5-4458C5DF5884}">
      <dgm:prSet/>
      <dgm:spPr/>
      <dgm:t>
        <a:bodyPr/>
        <a:lstStyle/>
        <a:p>
          <a:endParaRPr lang="it-IT"/>
        </a:p>
      </dgm:t>
    </dgm:pt>
    <dgm:pt modelId="{8CE255E6-648B-4E39-8946-708F6902E30E}">
      <dgm:prSet phldrT="[Testo]" custT="1"/>
      <dgm:spPr>
        <a:solidFill>
          <a:srgbClr val="0050AA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148590" tIns="148590" rIns="148590" bIns="148590" numCol="1" spcCol="1270" anchor="ctr" anchorCtr="0"/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>
              <a:solidFill>
                <a:prstClr val="white"/>
              </a:solidFill>
              <a:latin typeface="Lidl Font Pro"/>
              <a:ea typeface="+mn-ea"/>
              <a:cs typeface="+mn-cs"/>
            </a:rPr>
            <a:t>3. Convenzioni</a:t>
          </a:r>
        </a:p>
      </dgm:t>
    </dgm:pt>
    <dgm:pt modelId="{537EA732-56F9-4DFD-851C-16BA8ADD9935}" type="parTrans" cxnId="{12EF46EA-A08C-4931-AEF7-FF725F430B0D}">
      <dgm:prSet/>
      <dgm:spPr/>
      <dgm:t>
        <a:bodyPr/>
        <a:lstStyle/>
        <a:p>
          <a:endParaRPr lang="it-IT"/>
        </a:p>
      </dgm:t>
    </dgm:pt>
    <dgm:pt modelId="{9FCEF48D-21B6-4276-ADBA-4E0EAE1C0C9A}" type="sibTrans" cxnId="{12EF46EA-A08C-4931-AEF7-FF725F430B0D}">
      <dgm:prSet/>
      <dgm:spPr/>
      <dgm:t>
        <a:bodyPr/>
        <a:lstStyle/>
        <a:p>
          <a:endParaRPr lang="it-IT"/>
        </a:p>
      </dgm:t>
    </dgm:pt>
    <dgm:pt modelId="{EE2E77FD-D5C6-426B-B826-7404C14D391E}">
      <dgm:prSet phldrT="[Testo]"/>
      <dgm:spPr/>
      <dgm:t>
        <a:bodyPr/>
        <a:lstStyle/>
        <a:p>
          <a:r>
            <a:rPr lang="it-IT" b="1" dirty="0"/>
            <a:t>Sfrutta le potenzialità </a:t>
          </a:r>
          <a:r>
            <a:rPr lang="it-IT" dirty="0"/>
            <a:t>del network</a:t>
          </a:r>
        </a:p>
      </dgm:t>
    </dgm:pt>
    <dgm:pt modelId="{EE26B93F-E437-4065-A3D7-475F5434BC31}" type="parTrans" cxnId="{975CAB9C-878F-4C95-8537-1FA9D2F21CFF}">
      <dgm:prSet/>
      <dgm:spPr/>
      <dgm:t>
        <a:bodyPr/>
        <a:lstStyle/>
        <a:p>
          <a:endParaRPr lang="it-IT"/>
        </a:p>
      </dgm:t>
    </dgm:pt>
    <dgm:pt modelId="{812E83B7-2AD5-4ADF-8C28-11985FD10A83}" type="sibTrans" cxnId="{975CAB9C-878F-4C95-8537-1FA9D2F21CFF}">
      <dgm:prSet/>
      <dgm:spPr/>
      <dgm:t>
        <a:bodyPr/>
        <a:lstStyle/>
        <a:p>
          <a:endParaRPr lang="it-IT"/>
        </a:p>
      </dgm:t>
    </dgm:pt>
    <dgm:pt modelId="{45C5C427-BC8C-4C54-9115-125E6A650D26}" type="pres">
      <dgm:prSet presAssocID="{364C11FF-FD9D-4212-BB73-B5579B32FE9D}" presName="linear" presStyleCnt="0">
        <dgm:presLayoutVars>
          <dgm:animLvl val="lvl"/>
          <dgm:resizeHandles val="exact"/>
        </dgm:presLayoutVars>
      </dgm:prSet>
      <dgm:spPr/>
    </dgm:pt>
    <dgm:pt modelId="{E7F4688A-E129-4D40-93CC-4444A3527BFD}" type="pres">
      <dgm:prSet presAssocID="{C944A454-24BC-4163-9654-0DEEB2FC401E}" presName="parentText" presStyleLbl="node1" presStyleIdx="0" presStyleCnt="3" custLinFactNeighborX="28019">
        <dgm:presLayoutVars>
          <dgm:chMax val="0"/>
          <dgm:bulletEnabled val="1"/>
        </dgm:presLayoutVars>
      </dgm:prSet>
      <dgm:spPr/>
    </dgm:pt>
    <dgm:pt modelId="{6030D4D0-E4F8-4984-9B7D-E22687DE4820}" type="pres">
      <dgm:prSet presAssocID="{C944A454-24BC-4163-9654-0DEEB2FC401E}" presName="childText" presStyleLbl="revTx" presStyleIdx="0" presStyleCnt="3">
        <dgm:presLayoutVars>
          <dgm:bulletEnabled val="1"/>
        </dgm:presLayoutVars>
      </dgm:prSet>
      <dgm:spPr/>
    </dgm:pt>
    <dgm:pt modelId="{F7290B78-ACBE-4728-B443-5B7962CD04F3}" type="pres">
      <dgm:prSet presAssocID="{BCDD8564-E13C-47DF-BEA3-C972D237080C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B33DFCDC-03DD-4996-8402-87CCA88F0A24}" type="pres">
      <dgm:prSet presAssocID="{BCDD8564-E13C-47DF-BEA3-C972D237080C}" presName="childText" presStyleLbl="revTx" presStyleIdx="1" presStyleCnt="3">
        <dgm:presLayoutVars>
          <dgm:bulletEnabled val="1"/>
        </dgm:presLayoutVars>
      </dgm:prSet>
      <dgm:spPr/>
    </dgm:pt>
    <dgm:pt modelId="{988E6670-4AEA-4057-9AFA-3D11BCACC4CF}" type="pres">
      <dgm:prSet presAssocID="{8CE255E6-648B-4E39-8946-708F6902E30E}" presName="parentText" presStyleLbl="node1" presStyleIdx="2" presStyleCnt="3">
        <dgm:presLayoutVars>
          <dgm:chMax val="0"/>
          <dgm:bulletEnabled val="1"/>
        </dgm:presLayoutVars>
      </dgm:prSet>
      <dgm:spPr>
        <a:xfrm>
          <a:off x="0" y="3338387"/>
          <a:ext cx="7568973" cy="935415"/>
        </a:xfrm>
        <a:prstGeom prst="roundRect">
          <a:avLst/>
        </a:prstGeom>
      </dgm:spPr>
    </dgm:pt>
    <dgm:pt modelId="{859294C6-48AA-456E-9414-CE007EF72D6C}" type="pres">
      <dgm:prSet presAssocID="{8CE255E6-648B-4E39-8946-708F6902E30E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B2916D1A-C4A6-4494-997B-7AD56B10FCA9}" srcId="{C944A454-24BC-4163-9654-0DEEB2FC401E}" destId="{1E7F2958-30AD-4EE3-BB2D-C81ADF0BBBBB}" srcOrd="0" destOrd="0" parTransId="{D4DD7E99-232D-4444-A3E3-276F6CD6220A}" sibTransId="{8D640941-3BB3-44BC-8D68-58B0E040BA0B}"/>
    <dgm:cxn modelId="{7D587E34-B64F-4877-8774-51FFC748B064}" srcId="{364C11FF-FD9D-4212-BB73-B5579B32FE9D}" destId="{C944A454-24BC-4163-9654-0DEEB2FC401E}" srcOrd="0" destOrd="0" parTransId="{3AC801C3-5D0A-40CB-B2E5-A227D204E5F0}" sibTransId="{7BA15534-1020-4482-BA53-4341E20AD7F0}"/>
    <dgm:cxn modelId="{53E60563-44A8-4959-B7B4-C7EA59CA1B07}" type="presOf" srcId="{8CE255E6-648B-4E39-8946-708F6902E30E}" destId="{988E6670-4AEA-4057-9AFA-3D11BCACC4CF}" srcOrd="0" destOrd="0" presId="urn:microsoft.com/office/officeart/2005/8/layout/vList2"/>
    <dgm:cxn modelId="{3CCFC167-B845-4010-A5E5-4458C5DF5884}" srcId="{BCDD8564-E13C-47DF-BEA3-C972D237080C}" destId="{B335BC4B-7952-4B9F-ADBA-DF66A83558D2}" srcOrd="0" destOrd="0" parTransId="{B4100FD8-51D5-4FB9-9945-DC3CED0B59C4}" sibTransId="{62ECBA6F-DC0E-44BB-9F91-9B4250FC6CC7}"/>
    <dgm:cxn modelId="{4299B96E-A34A-406E-97AB-EA9EC44AC46D}" type="presOf" srcId="{364C11FF-FD9D-4212-BB73-B5579B32FE9D}" destId="{45C5C427-BC8C-4C54-9115-125E6A650D26}" srcOrd="0" destOrd="0" presId="urn:microsoft.com/office/officeart/2005/8/layout/vList2"/>
    <dgm:cxn modelId="{4FA60152-ABEF-4611-86D5-A31CEE22EE74}" type="presOf" srcId="{B335BC4B-7952-4B9F-ADBA-DF66A83558D2}" destId="{B33DFCDC-03DD-4996-8402-87CCA88F0A24}" srcOrd="0" destOrd="0" presId="urn:microsoft.com/office/officeart/2005/8/layout/vList2"/>
    <dgm:cxn modelId="{F158B053-049B-487F-A3C3-E8DC0E7A280A}" type="presOf" srcId="{EE2E77FD-D5C6-426B-B826-7404C14D391E}" destId="{859294C6-48AA-456E-9414-CE007EF72D6C}" srcOrd="0" destOrd="0" presId="urn:microsoft.com/office/officeart/2005/8/layout/vList2"/>
    <dgm:cxn modelId="{DF529190-5C24-4ECA-9A8D-815E79CEA81A}" type="presOf" srcId="{BCDD8564-E13C-47DF-BEA3-C972D237080C}" destId="{F7290B78-ACBE-4728-B443-5B7962CD04F3}" srcOrd="0" destOrd="0" presId="urn:microsoft.com/office/officeart/2005/8/layout/vList2"/>
    <dgm:cxn modelId="{975CAB9C-878F-4C95-8537-1FA9D2F21CFF}" srcId="{8CE255E6-648B-4E39-8946-708F6902E30E}" destId="{EE2E77FD-D5C6-426B-B826-7404C14D391E}" srcOrd="0" destOrd="0" parTransId="{EE26B93F-E437-4065-A3D7-475F5434BC31}" sibTransId="{812E83B7-2AD5-4ADF-8C28-11985FD10A83}"/>
    <dgm:cxn modelId="{E90435A1-7442-40EA-AB09-26A91A3CF5F7}" srcId="{364C11FF-FD9D-4212-BB73-B5579B32FE9D}" destId="{BCDD8564-E13C-47DF-BEA3-C972D237080C}" srcOrd="1" destOrd="0" parTransId="{94E2BB1D-175F-4C71-9824-63919361BAFB}" sibTransId="{562AF66D-408F-4272-AA6C-279C23FC0A45}"/>
    <dgm:cxn modelId="{D6F088A8-FA4C-4BB5-A242-99651AE8A9F7}" type="presOf" srcId="{C944A454-24BC-4163-9654-0DEEB2FC401E}" destId="{E7F4688A-E129-4D40-93CC-4444A3527BFD}" srcOrd="0" destOrd="0" presId="urn:microsoft.com/office/officeart/2005/8/layout/vList2"/>
    <dgm:cxn modelId="{12EF46EA-A08C-4931-AEF7-FF725F430B0D}" srcId="{364C11FF-FD9D-4212-BB73-B5579B32FE9D}" destId="{8CE255E6-648B-4E39-8946-708F6902E30E}" srcOrd="2" destOrd="0" parTransId="{537EA732-56F9-4DFD-851C-16BA8ADD9935}" sibTransId="{9FCEF48D-21B6-4276-ADBA-4E0EAE1C0C9A}"/>
    <dgm:cxn modelId="{BFA92BF8-07BC-41E1-A781-E89679845441}" type="presOf" srcId="{1E7F2958-30AD-4EE3-BB2D-C81ADF0BBBBB}" destId="{6030D4D0-E4F8-4984-9B7D-E22687DE4820}" srcOrd="0" destOrd="0" presId="urn:microsoft.com/office/officeart/2005/8/layout/vList2"/>
    <dgm:cxn modelId="{455AE2CB-187D-47B5-91A1-C884CF0FEF85}" type="presParOf" srcId="{45C5C427-BC8C-4C54-9115-125E6A650D26}" destId="{E7F4688A-E129-4D40-93CC-4444A3527BFD}" srcOrd="0" destOrd="0" presId="urn:microsoft.com/office/officeart/2005/8/layout/vList2"/>
    <dgm:cxn modelId="{5D72AA62-1459-4A96-9F68-5A46F12C07E1}" type="presParOf" srcId="{45C5C427-BC8C-4C54-9115-125E6A650D26}" destId="{6030D4D0-E4F8-4984-9B7D-E22687DE4820}" srcOrd="1" destOrd="0" presId="urn:microsoft.com/office/officeart/2005/8/layout/vList2"/>
    <dgm:cxn modelId="{4136A96D-4A18-4DFC-9965-EE642824C15B}" type="presParOf" srcId="{45C5C427-BC8C-4C54-9115-125E6A650D26}" destId="{F7290B78-ACBE-4728-B443-5B7962CD04F3}" srcOrd="2" destOrd="0" presId="urn:microsoft.com/office/officeart/2005/8/layout/vList2"/>
    <dgm:cxn modelId="{B704A678-2732-46E3-BCCA-D58862D0A2F5}" type="presParOf" srcId="{45C5C427-BC8C-4C54-9115-125E6A650D26}" destId="{B33DFCDC-03DD-4996-8402-87CCA88F0A24}" srcOrd="3" destOrd="0" presId="urn:microsoft.com/office/officeart/2005/8/layout/vList2"/>
    <dgm:cxn modelId="{4A5ABAE2-A858-4EF2-81D3-191A41B8FE02}" type="presParOf" srcId="{45C5C427-BC8C-4C54-9115-125E6A650D26}" destId="{988E6670-4AEA-4057-9AFA-3D11BCACC4CF}" srcOrd="4" destOrd="0" presId="urn:microsoft.com/office/officeart/2005/8/layout/vList2"/>
    <dgm:cxn modelId="{611AECAF-AC96-4016-80D4-2DE845BF810F}" type="presParOf" srcId="{45C5C427-BC8C-4C54-9115-125E6A650D26}" destId="{859294C6-48AA-456E-9414-CE007EF72D6C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F4688A-E129-4D40-93CC-4444A3527BFD}">
      <dsp:nvSpPr>
        <dsp:cNvPr id="0" name=""/>
        <dsp:cNvSpPr/>
      </dsp:nvSpPr>
      <dsp:spPr>
        <a:xfrm>
          <a:off x="0" y="54242"/>
          <a:ext cx="7568973" cy="983384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4100" kern="1200" dirty="0"/>
            <a:t>1. Risparmiare </a:t>
          </a:r>
        </a:p>
      </dsp:txBody>
      <dsp:txXfrm>
        <a:off x="48005" y="102247"/>
        <a:ext cx="7472963" cy="887374"/>
      </dsp:txXfrm>
    </dsp:sp>
    <dsp:sp modelId="{6030D4D0-E4F8-4984-9B7D-E22687DE4820}">
      <dsp:nvSpPr>
        <dsp:cNvPr id="0" name=""/>
        <dsp:cNvSpPr/>
      </dsp:nvSpPr>
      <dsp:spPr>
        <a:xfrm>
          <a:off x="0" y="1037627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b="1" kern="1200" dirty="0"/>
            <a:t>Sfrutta le convenzioni </a:t>
          </a:r>
          <a:r>
            <a:rPr lang="it-IT" sz="3200" kern="1200" dirty="0"/>
            <a:t>del network</a:t>
          </a:r>
        </a:p>
      </dsp:txBody>
      <dsp:txXfrm>
        <a:off x="0" y="1037627"/>
        <a:ext cx="7568973" cy="678960"/>
      </dsp:txXfrm>
    </dsp:sp>
    <dsp:sp modelId="{F7290B78-ACBE-4728-B443-5B7962CD04F3}">
      <dsp:nvSpPr>
        <dsp:cNvPr id="0" name=""/>
        <dsp:cNvSpPr/>
      </dsp:nvSpPr>
      <dsp:spPr>
        <a:xfrm>
          <a:off x="0" y="1716587"/>
          <a:ext cx="7568973" cy="983384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4100" kern="1200" dirty="0"/>
            <a:t>2. Crescere</a:t>
          </a:r>
        </a:p>
      </dsp:txBody>
      <dsp:txXfrm>
        <a:off x="48005" y="1764592"/>
        <a:ext cx="7472963" cy="887374"/>
      </dsp:txXfrm>
    </dsp:sp>
    <dsp:sp modelId="{B33DFCDC-03DD-4996-8402-87CCA88F0A24}">
      <dsp:nvSpPr>
        <dsp:cNvPr id="0" name=""/>
        <dsp:cNvSpPr/>
      </dsp:nvSpPr>
      <dsp:spPr>
        <a:xfrm>
          <a:off x="0" y="2699972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b="0" kern="1200" dirty="0"/>
            <a:t>Svolgi</a:t>
          </a:r>
          <a:r>
            <a:rPr lang="it-IT" sz="3200" b="1" kern="1200" dirty="0"/>
            <a:t> formazione gratuita</a:t>
          </a:r>
          <a:endParaRPr lang="it-IT" sz="3200" kern="1200" dirty="0"/>
        </a:p>
      </dsp:txBody>
      <dsp:txXfrm>
        <a:off x="0" y="2699972"/>
        <a:ext cx="7568973" cy="678960"/>
      </dsp:txXfrm>
    </dsp:sp>
    <dsp:sp modelId="{988E6670-4AEA-4057-9AFA-3D11BCACC4CF}">
      <dsp:nvSpPr>
        <dsp:cNvPr id="0" name=""/>
        <dsp:cNvSpPr/>
      </dsp:nvSpPr>
      <dsp:spPr>
        <a:xfrm>
          <a:off x="0" y="3378932"/>
          <a:ext cx="7568973" cy="983384"/>
        </a:xfrm>
        <a:prstGeom prst="roundRect">
          <a:avLst/>
        </a:prstGeom>
        <a:solidFill>
          <a:srgbClr val="0050AA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>
              <a:solidFill>
                <a:prstClr val="white"/>
              </a:solidFill>
              <a:latin typeface="Lidl Font Pro"/>
              <a:ea typeface="+mn-ea"/>
              <a:cs typeface="+mn-cs"/>
            </a:rPr>
            <a:t>3. Conoscere</a:t>
          </a:r>
        </a:p>
      </dsp:txBody>
      <dsp:txXfrm>
        <a:off x="48005" y="3426937"/>
        <a:ext cx="7472963" cy="887374"/>
      </dsp:txXfrm>
    </dsp:sp>
    <dsp:sp modelId="{859294C6-48AA-456E-9414-CE007EF72D6C}">
      <dsp:nvSpPr>
        <dsp:cNvPr id="0" name=""/>
        <dsp:cNvSpPr/>
      </dsp:nvSpPr>
      <dsp:spPr>
        <a:xfrm>
          <a:off x="0" y="4362317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kern="1200" dirty="0"/>
            <a:t>Hai </a:t>
          </a:r>
          <a:r>
            <a:rPr lang="it-IT" sz="3200" b="1" kern="1200" dirty="0"/>
            <a:t>news utili </a:t>
          </a:r>
          <a:r>
            <a:rPr lang="it-IT" sz="3200" kern="1200" dirty="0"/>
            <a:t>per la tua attività</a:t>
          </a:r>
        </a:p>
      </dsp:txBody>
      <dsp:txXfrm>
        <a:off x="0" y="4362317"/>
        <a:ext cx="7568973" cy="67896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F4688A-E129-4D40-93CC-4444A3527BFD}">
      <dsp:nvSpPr>
        <dsp:cNvPr id="0" name=""/>
        <dsp:cNvSpPr/>
      </dsp:nvSpPr>
      <dsp:spPr>
        <a:xfrm>
          <a:off x="0" y="54242"/>
          <a:ext cx="7568973" cy="983384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4100" kern="1200" dirty="0"/>
            <a:t>3. Conoscere </a:t>
          </a:r>
        </a:p>
      </dsp:txBody>
      <dsp:txXfrm>
        <a:off x="48005" y="102247"/>
        <a:ext cx="7472963" cy="887374"/>
      </dsp:txXfrm>
    </dsp:sp>
    <dsp:sp modelId="{6030D4D0-E4F8-4984-9B7D-E22687DE4820}">
      <dsp:nvSpPr>
        <dsp:cNvPr id="0" name=""/>
        <dsp:cNvSpPr/>
      </dsp:nvSpPr>
      <dsp:spPr>
        <a:xfrm>
          <a:off x="0" y="1037627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kern="1200" dirty="0"/>
            <a:t>Hai </a:t>
          </a:r>
          <a:r>
            <a:rPr lang="it-IT" sz="3200" b="1" kern="1200" dirty="0"/>
            <a:t>news utili, </a:t>
          </a:r>
          <a:r>
            <a:rPr lang="it-IT" sz="3200" b="0" kern="1200" dirty="0"/>
            <a:t>ad esempio:</a:t>
          </a:r>
          <a:r>
            <a:rPr lang="it-IT" sz="3200" b="1" kern="1200" dirty="0"/>
            <a:t> BANDI</a:t>
          </a:r>
          <a:endParaRPr lang="it-IT" sz="3200" kern="1200" dirty="0"/>
        </a:p>
      </dsp:txBody>
      <dsp:txXfrm>
        <a:off x="0" y="1037627"/>
        <a:ext cx="7568973" cy="678960"/>
      </dsp:txXfrm>
    </dsp:sp>
    <dsp:sp modelId="{F7290B78-ACBE-4728-B443-5B7962CD04F3}">
      <dsp:nvSpPr>
        <dsp:cNvPr id="0" name=""/>
        <dsp:cNvSpPr/>
      </dsp:nvSpPr>
      <dsp:spPr>
        <a:xfrm>
          <a:off x="0" y="1716587"/>
          <a:ext cx="7568973" cy="983384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4100" kern="1200" dirty="0"/>
            <a:t>2. Formazione</a:t>
          </a:r>
        </a:p>
      </dsp:txBody>
      <dsp:txXfrm>
        <a:off x="48005" y="1764592"/>
        <a:ext cx="7472963" cy="887374"/>
      </dsp:txXfrm>
    </dsp:sp>
    <dsp:sp modelId="{B33DFCDC-03DD-4996-8402-87CCA88F0A24}">
      <dsp:nvSpPr>
        <dsp:cNvPr id="0" name=""/>
        <dsp:cNvSpPr/>
      </dsp:nvSpPr>
      <dsp:spPr>
        <a:xfrm>
          <a:off x="0" y="2699972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b="1" kern="1200" dirty="0"/>
            <a:t>Risparmia </a:t>
          </a:r>
          <a:r>
            <a:rPr lang="it-IT" sz="3200" kern="1200" dirty="0"/>
            <a:t>per accrescere le competenze</a:t>
          </a:r>
        </a:p>
      </dsp:txBody>
      <dsp:txXfrm>
        <a:off x="0" y="2699972"/>
        <a:ext cx="7568973" cy="678960"/>
      </dsp:txXfrm>
    </dsp:sp>
    <dsp:sp modelId="{988E6670-4AEA-4057-9AFA-3D11BCACC4CF}">
      <dsp:nvSpPr>
        <dsp:cNvPr id="0" name=""/>
        <dsp:cNvSpPr/>
      </dsp:nvSpPr>
      <dsp:spPr>
        <a:xfrm>
          <a:off x="0" y="3378932"/>
          <a:ext cx="7568973" cy="983384"/>
        </a:xfrm>
        <a:prstGeom prst="roundRect">
          <a:avLst/>
        </a:prstGeom>
        <a:solidFill>
          <a:srgbClr val="0050AA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>
              <a:solidFill>
                <a:prstClr val="white"/>
              </a:solidFill>
              <a:latin typeface="Lidl Font Pro"/>
              <a:ea typeface="+mn-ea"/>
              <a:cs typeface="+mn-cs"/>
            </a:rPr>
            <a:t>3. Convenzioni</a:t>
          </a:r>
        </a:p>
      </dsp:txBody>
      <dsp:txXfrm>
        <a:off x="48005" y="3426937"/>
        <a:ext cx="7472963" cy="887374"/>
      </dsp:txXfrm>
    </dsp:sp>
    <dsp:sp modelId="{859294C6-48AA-456E-9414-CE007EF72D6C}">
      <dsp:nvSpPr>
        <dsp:cNvPr id="0" name=""/>
        <dsp:cNvSpPr/>
      </dsp:nvSpPr>
      <dsp:spPr>
        <a:xfrm>
          <a:off x="0" y="4362317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b="1" kern="1200" dirty="0"/>
            <a:t>Sfrutta le potenzialità </a:t>
          </a:r>
          <a:r>
            <a:rPr lang="it-IT" sz="3200" kern="1200" dirty="0"/>
            <a:t>del network</a:t>
          </a:r>
        </a:p>
      </dsp:txBody>
      <dsp:txXfrm>
        <a:off x="0" y="4362317"/>
        <a:ext cx="7568973" cy="678960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F4688A-E129-4D40-93CC-4444A3527BFD}">
      <dsp:nvSpPr>
        <dsp:cNvPr id="0" name=""/>
        <dsp:cNvSpPr/>
      </dsp:nvSpPr>
      <dsp:spPr>
        <a:xfrm>
          <a:off x="0" y="54242"/>
          <a:ext cx="7568973" cy="983384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4100" kern="1200" dirty="0"/>
            <a:t>3. Conoscere </a:t>
          </a:r>
        </a:p>
      </dsp:txBody>
      <dsp:txXfrm>
        <a:off x="48005" y="102247"/>
        <a:ext cx="7472963" cy="887374"/>
      </dsp:txXfrm>
    </dsp:sp>
    <dsp:sp modelId="{6030D4D0-E4F8-4984-9B7D-E22687DE4820}">
      <dsp:nvSpPr>
        <dsp:cNvPr id="0" name=""/>
        <dsp:cNvSpPr/>
      </dsp:nvSpPr>
      <dsp:spPr>
        <a:xfrm>
          <a:off x="0" y="1037627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kern="1200" dirty="0"/>
            <a:t>Hai </a:t>
          </a:r>
          <a:r>
            <a:rPr lang="it-IT" sz="3200" b="1" kern="1200" dirty="0"/>
            <a:t>news utili, </a:t>
          </a:r>
          <a:r>
            <a:rPr lang="it-IT" sz="3200" b="0" kern="1200" dirty="0"/>
            <a:t>ad esempio:</a:t>
          </a:r>
          <a:r>
            <a:rPr lang="it-IT" sz="3200" b="1" kern="1200" dirty="0"/>
            <a:t> NORMATIVA</a:t>
          </a:r>
          <a:endParaRPr lang="it-IT" sz="3200" kern="1200" dirty="0"/>
        </a:p>
      </dsp:txBody>
      <dsp:txXfrm>
        <a:off x="0" y="1037627"/>
        <a:ext cx="7568973" cy="678960"/>
      </dsp:txXfrm>
    </dsp:sp>
    <dsp:sp modelId="{F7290B78-ACBE-4728-B443-5B7962CD04F3}">
      <dsp:nvSpPr>
        <dsp:cNvPr id="0" name=""/>
        <dsp:cNvSpPr/>
      </dsp:nvSpPr>
      <dsp:spPr>
        <a:xfrm>
          <a:off x="0" y="1716587"/>
          <a:ext cx="7568973" cy="983384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4100" kern="1200" dirty="0"/>
            <a:t>2. Formazione</a:t>
          </a:r>
        </a:p>
      </dsp:txBody>
      <dsp:txXfrm>
        <a:off x="48005" y="1764592"/>
        <a:ext cx="7472963" cy="887374"/>
      </dsp:txXfrm>
    </dsp:sp>
    <dsp:sp modelId="{B33DFCDC-03DD-4996-8402-87CCA88F0A24}">
      <dsp:nvSpPr>
        <dsp:cNvPr id="0" name=""/>
        <dsp:cNvSpPr/>
      </dsp:nvSpPr>
      <dsp:spPr>
        <a:xfrm>
          <a:off x="0" y="2699972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b="1" kern="1200" dirty="0"/>
            <a:t>Risparmia </a:t>
          </a:r>
          <a:r>
            <a:rPr lang="it-IT" sz="3200" kern="1200" dirty="0"/>
            <a:t>per accrescere le competenze</a:t>
          </a:r>
        </a:p>
      </dsp:txBody>
      <dsp:txXfrm>
        <a:off x="0" y="2699972"/>
        <a:ext cx="7568973" cy="678960"/>
      </dsp:txXfrm>
    </dsp:sp>
    <dsp:sp modelId="{988E6670-4AEA-4057-9AFA-3D11BCACC4CF}">
      <dsp:nvSpPr>
        <dsp:cNvPr id="0" name=""/>
        <dsp:cNvSpPr/>
      </dsp:nvSpPr>
      <dsp:spPr>
        <a:xfrm>
          <a:off x="0" y="3378932"/>
          <a:ext cx="7568973" cy="983384"/>
        </a:xfrm>
        <a:prstGeom prst="roundRect">
          <a:avLst/>
        </a:prstGeom>
        <a:solidFill>
          <a:srgbClr val="0050AA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>
              <a:solidFill>
                <a:prstClr val="white"/>
              </a:solidFill>
              <a:latin typeface="Lidl Font Pro"/>
              <a:ea typeface="+mn-ea"/>
              <a:cs typeface="+mn-cs"/>
            </a:rPr>
            <a:t>3. Convenzioni</a:t>
          </a:r>
        </a:p>
      </dsp:txBody>
      <dsp:txXfrm>
        <a:off x="48005" y="3426937"/>
        <a:ext cx="7472963" cy="887374"/>
      </dsp:txXfrm>
    </dsp:sp>
    <dsp:sp modelId="{859294C6-48AA-456E-9414-CE007EF72D6C}">
      <dsp:nvSpPr>
        <dsp:cNvPr id="0" name=""/>
        <dsp:cNvSpPr/>
      </dsp:nvSpPr>
      <dsp:spPr>
        <a:xfrm>
          <a:off x="0" y="4362317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b="1" kern="1200" dirty="0"/>
            <a:t>Sfrutta le potenzialità </a:t>
          </a:r>
          <a:r>
            <a:rPr lang="it-IT" sz="3200" kern="1200" dirty="0"/>
            <a:t>del network</a:t>
          </a:r>
        </a:p>
      </dsp:txBody>
      <dsp:txXfrm>
        <a:off x="0" y="4362317"/>
        <a:ext cx="7568973" cy="6789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F4688A-E129-4D40-93CC-4444A3527BFD}">
      <dsp:nvSpPr>
        <dsp:cNvPr id="0" name=""/>
        <dsp:cNvSpPr/>
      </dsp:nvSpPr>
      <dsp:spPr>
        <a:xfrm>
          <a:off x="0" y="54242"/>
          <a:ext cx="7568973" cy="983384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4100" kern="1200" dirty="0"/>
            <a:t>1. Risparmiare </a:t>
          </a:r>
        </a:p>
      </dsp:txBody>
      <dsp:txXfrm>
        <a:off x="48005" y="102247"/>
        <a:ext cx="7472963" cy="887374"/>
      </dsp:txXfrm>
    </dsp:sp>
    <dsp:sp modelId="{6030D4D0-E4F8-4984-9B7D-E22687DE4820}">
      <dsp:nvSpPr>
        <dsp:cNvPr id="0" name=""/>
        <dsp:cNvSpPr/>
      </dsp:nvSpPr>
      <dsp:spPr>
        <a:xfrm>
          <a:off x="0" y="1037627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b="1" kern="1200" dirty="0"/>
            <a:t>Sfrutta le convenzioni </a:t>
          </a:r>
          <a:r>
            <a:rPr lang="it-IT" sz="3200" kern="1200" dirty="0"/>
            <a:t>del network</a:t>
          </a:r>
        </a:p>
      </dsp:txBody>
      <dsp:txXfrm>
        <a:off x="0" y="1037627"/>
        <a:ext cx="7568973" cy="678960"/>
      </dsp:txXfrm>
    </dsp:sp>
    <dsp:sp modelId="{F7290B78-ACBE-4728-B443-5B7962CD04F3}">
      <dsp:nvSpPr>
        <dsp:cNvPr id="0" name=""/>
        <dsp:cNvSpPr/>
      </dsp:nvSpPr>
      <dsp:spPr>
        <a:xfrm>
          <a:off x="0" y="1716587"/>
          <a:ext cx="7568973" cy="983384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4100" kern="1200" dirty="0"/>
            <a:t>2. Formazione</a:t>
          </a:r>
        </a:p>
      </dsp:txBody>
      <dsp:txXfrm>
        <a:off x="48005" y="1764592"/>
        <a:ext cx="7472963" cy="887374"/>
      </dsp:txXfrm>
    </dsp:sp>
    <dsp:sp modelId="{B33DFCDC-03DD-4996-8402-87CCA88F0A24}">
      <dsp:nvSpPr>
        <dsp:cNvPr id="0" name=""/>
        <dsp:cNvSpPr/>
      </dsp:nvSpPr>
      <dsp:spPr>
        <a:xfrm>
          <a:off x="0" y="2699972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b="1" kern="1200" dirty="0"/>
            <a:t>Risparmia </a:t>
          </a:r>
          <a:r>
            <a:rPr lang="it-IT" sz="3200" kern="1200" dirty="0"/>
            <a:t>per accrescere le competenze</a:t>
          </a:r>
        </a:p>
      </dsp:txBody>
      <dsp:txXfrm>
        <a:off x="0" y="2699972"/>
        <a:ext cx="7568973" cy="678960"/>
      </dsp:txXfrm>
    </dsp:sp>
    <dsp:sp modelId="{988E6670-4AEA-4057-9AFA-3D11BCACC4CF}">
      <dsp:nvSpPr>
        <dsp:cNvPr id="0" name=""/>
        <dsp:cNvSpPr/>
      </dsp:nvSpPr>
      <dsp:spPr>
        <a:xfrm>
          <a:off x="0" y="3378932"/>
          <a:ext cx="7568973" cy="983384"/>
        </a:xfrm>
        <a:prstGeom prst="roundRect">
          <a:avLst/>
        </a:prstGeom>
        <a:solidFill>
          <a:srgbClr val="0050AA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>
              <a:solidFill>
                <a:prstClr val="white"/>
              </a:solidFill>
              <a:latin typeface="Lidl Font Pro"/>
              <a:ea typeface="+mn-ea"/>
              <a:cs typeface="+mn-cs"/>
            </a:rPr>
            <a:t>3. Convenzioni</a:t>
          </a:r>
        </a:p>
      </dsp:txBody>
      <dsp:txXfrm>
        <a:off x="48005" y="3426937"/>
        <a:ext cx="7472963" cy="887374"/>
      </dsp:txXfrm>
    </dsp:sp>
    <dsp:sp modelId="{859294C6-48AA-456E-9414-CE007EF72D6C}">
      <dsp:nvSpPr>
        <dsp:cNvPr id="0" name=""/>
        <dsp:cNvSpPr/>
      </dsp:nvSpPr>
      <dsp:spPr>
        <a:xfrm>
          <a:off x="0" y="4362317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b="1" kern="1200" dirty="0"/>
            <a:t>Sfrutta le potenzialità </a:t>
          </a:r>
          <a:r>
            <a:rPr lang="it-IT" sz="3200" kern="1200" dirty="0"/>
            <a:t>del network</a:t>
          </a:r>
        </a:p>
      </dsp:txBody>
      <dsp:txXfrm>
        <a:off x="0" y="4362317"/>
        <a:ext cx="7568973" cy="67896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F4688A-E129-4D40-93CC-4444A3527BFD}">
      <dsp:nvSpPr>
        <dsp:cNvPr id="0" name=""/>
        <dsp:cNvSpPr/>
      </dsp:nvSpPr>
      <dsp:spPr>
        <a:xfrm>
          <a:off x="0" y="54242"/>
          <a:ext cx="7568973" cy="983384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4100" kern="1200" dirty="0"/>
            <a:t>1. Risparmiare </a:t>
          </a:r>
        </a:p>
      </dsp:txBody>
      <dsp:txXfrm>
        <a:off x="48005" y="102247"/>
        <a:ext cx="7472963" cy="887374"/>
      </dsp:txXfrm>
    </dsp:sp>
    <dsp:sp modelId="{6030D4D0-E4F8-4984-9B7D-E22687DE4820}">
      <dsp:nvSpPr>
        <dsp:cNvPr id="0" name=""/>
        <dsp:cNvSpPr/>
      </dsp:nvSpPr>
      <dsp:spPr>
        <a:xfrm>
          <a:off x="0" y="1037627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b="1" kern="1200" dirty="0"/>
            <a:t>Sfrutta le convenzioni </a:t>
          </a:r>
          <a:r>
            <a:rPr lang="it-IT" sz="3200" kern="1200" dirty="0"/>
            <a:t>del network</a:t>
          </a:r>
        </a:p>
      </dsp:txBody>
      <dsp:txXfrm>
        <a:off x="0" y="1037627"/>
        <a:ext cx="7568973" cy="678960"/>
      </dsp:txXfrm>
    </dsp:sp>
    <dsp:sp modelId="{F7290B78-ACBE-4728-B443-5B7962CD04F3}">
      <dsp:nvSpPr>
        <dsp:cNvPr id="0" name=""/>
        <dsp:cNvSpPr/>
      </dsp:nvSpPr>
      <dsp:spPr>
        <a:xfrm>
          <a:off x="0" y="1716587"/>
          <a:ext cx="7568973" cy="983384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4100" kern="1200" dirty="0"/>
            <a:t>2. Formazione</a:t>
          </a:r>
        </a:p>
      </dsp:txBody>
      <dsp:txXfrm>
        <a:off x="48005" y="1764592"/>
        <a:ext cx="7472963" cy="887374"/>
      </dsp:txXfrm>
    </dsp:sp>
    <dsp:sp modelId="{B33DFCDC-03DD-4996-8402-87CCA88F0A24}">
      <dsp:nvSpPr>
        <dsp:cNvPr id="0" name=""/>
        <dsp:cNvSpPr/>
      </dsp:nvSpPr>
      <dsp:spPr>
        <a:xfrm>
          <a:off x="0" y="2699972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b="1" kern="1200" dirty="0"/>
            <a:t>Risparmia </a:t>
          </a:r>
          <a:r>
            <a:rPr lang="it-IT" sz="3200" kern="1200" dirty="0"/>
            <a:t>per accrescere le competenze</a:t>
          </a:r>
        </a:p>
      </dsp:txBody>
      <dsp:txXfrm>
        <a:off x="0" y="2699972"/>
        <a:ext cx="7568973" cy="678960"/>
      </dsp:txXfrm>
    </dsp:sp>
    <dsp:sp modelId="{988E6670-4AEA-4057-9AFA-3D11BCACC4CF}">
      <dsp:nvSpPr>
        <dsp:cNvPr id="0" name=""/>
        <dsp:cNvSpPr/>
      </dsp:nvSpPr>
      <dsp:spPr>
        <a:xfrm>
          <a:off x="0" y="3378932"/>
          <a:ext cx="7568973" cy="983384"/>
        </a:xfrm>
        <a:prstGeom prst="roundRect">
          <a:avLst/>
        </a:prstGeom>
        <a:solidFill>
          <a:srgbClr val="0050AA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>
              <a:solidFill>
                <a:prstClr val="white"/>
              </a:solidFill>
              <a:latin typeface="Lidl Font Pro"/>
              <a:ea typeface="+mn-ea"/>
              <a:cs typeface="+mn-cs"/>
            </a:rPr>
            <a:t>3. Convenzioni</a:t>
          </a:r>
        </a:p>
      </dsp:txBody>
      <dsp:txXfrm>
        <a:off x="48005" y="3426937"/>
        <a:ext cx="7472963" cy="887374"/>
      </dsp:txXfrm>
    </dsp:sp>
    <dsp:sp modelId="{859294C6-48AA-456E-9414-CE007EF72D6C}">
      <dsp:nvSpPr>
        <dsp:cNvPr id="0" name=""/>
        <dsp:cNvSpPr/>
      </dsp:nvSpPr>
      <dsp:spPr>
        <a:xfrm>
          <a:off x="0" y="4362317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b="1" kern="1200" dirty="0"/>
            <a:t>Sfrutta le potenzialità </a:t>
          </a:r>
          <a:r>
            <a:rPr lang="it-IT" sz="3200" kern="1200" dirty="0"/>
            <a:t>del network</a:t>
          </a:r>
        </a:p>
      </dsp:txBody>
      <dsp:txXfrm>
        <a:off x="0" y="4362317"/>
        <a:ext cx="7568973" cy="6789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F4688A-E129-4D40-93CC-4444A3527BFD}">
      <dsp:nvSpPr>
        <dsp:cNvPr id="0" name=""/>
        <dsp:cNvSpPr/>
      </dsp:nvSpPr>
      <dsp:spPr>
        <a:xfrm>
          <a:off x="0" y="54242"/>
          <a:ext cx="7568973" cy="983384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4100" kern="1200" dirty="0"/>
            <a:t>1. Risparmiare </a:t>
          </a:r>
        </a:p>
      </dsp:txBody>
      <dsp:txXfrm>
        <a:off x="48005" y="102247"/>
        <a:ext cx="7472963" cy="887374"/>
      </dsp:txXfrm>
    </dsp:sp>
    <dsp:sp modelId="{6030D4D0-E4F8-4984-9B7D-E22687DE4820}">
      <dsp:nvSpPr>
        <dsp:cNvPr id="0" name=""/>
        <dsp:cNvSpPr/>
      </dsp:nvSpPr>
      <dsp:spPr>
        <a:xfrm>
          <a:off x="0" y="1037627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b="1" kern="1200" dirty="0"/>
            <a:t>Sfrutta le convenzioni </a:t>
          </a:r>
          <a:r>
            <a:rPr lang="it-IT" sz="3200" kern="1200" dirty="0"/>
            <a:t>del network</a:t>
          </a:r>
        </a:p>
      </dsp:txBody>
      <dsp:txXfrm>
        <a:off x="0" y="1037627"/>
        <a:ext cx="7568973" cy="678960"/>
      </dsp:txXfrm>
    </dsp:sp>
    <dsp:sp modelId="{F7290B78-ACBE-4728-B443-5B7962CD04F3}">
      <dsp:nvSpPr>
        <dsp:cNvPr id="0" name=""/>
        <dsp:cNvSpPr/>
      </dsp:nvSpPr>
      <dsp:spPr>
        <a:xfrm>
          <a:off x="0" y="1716587"/>
          <a:ext cx="7568973" cy="983384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4100" kern="1200" dirty="0"/>
            <a:t>2. Formazione</a:t>
          </a:r>
        </a:p>
      </dsp:txBody>
      <dsp:txXfrm>
        <a:off x="48005" y="1764592"/>
        <a:ext cx="7472963" cy="887374"/>
      </dsp:txXfrm>
    </dsp:sp>
    <dsp:sp modelId="{B33DFCDC-03DD-4996-8402-87CCA88F0A24}">
      <dsp:nvSpPr>
        <dsp:cNvPr id="0" name=""/>
        <dsp:cNvSpPr/>
      </dsp:nvSpPr>
      <dsp:spPr>
        <a:xfrm>
          <a:off x="0" y="2699972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b="1" kern="1200" dirty="0"/>
            <a:t>Risparmia </a:t>
          </a:r>
          <a:r>
            <a:rPr lang="it-IT" sz="3200" kern="1200" dirty="0"/>
            <a:t>per accrescere le competenze</a:t>
          </a:r>
        </a:p>
      </dsp:txBody>
      <dsp:txXfrm>
        <a:off x="0" y="2699972"/>
        <a:ext cx="7568973" cy="678960"/>
      </dsp:txXfrm>
    </dsp:sp>
    <dsp:sp modelId="{988E6670-4AEA-4057-9AFA-3D11BCACC4CF}">
      <dsp:nvSpPr>
        <dsp:cNvPr id="0" name=""/>
        <dsp:cNvSpPr/>
      </dsp:nvSpPr>
      <dsp:spPr>
        <a:xfrm>
          <a:off x="0" y="3378932"/>
          <a:ext cx="7568973" cy="983384"/>
        </a:xfrm>
        <a:prstGeom prst="roundRect">
          <a:avLst/>
        </a:prstGeom>
        <a:solidFill>
          <a:srgbClr val="0050AA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>
              <a:solidFill>
                <a:prstClr val="white"/>
              </a:solidFill>
              <a:latin typeface="Lidl Font Pro"/>
              <a:ea typeface="+mn-ea"/>
              <a:cs typeface="+mn-cs"/>
            </a:rPr>
            <a:t>3. Convenzioni</a:t>
          </a:r>
        </a:p>
      </dsp:txBody>
      <dsp:txXfrm>
        <a:off x="48005" y="3426937"/>
        <a:ext cx="7472963" cy="887374"/>
      </dsp:txXfrm>
    </dsp:sp>
    <dsp:sp modelId="{859294C6-48AA-456E-9414-CE007EF72D6C}">
      <dsp:nvSpPr>
        <dsp:cNvPr id="0" name=""/>
        <dsp:cNvSpPr/>
      </dsp:nvSpPr>
      <dsp:spPr>
        <a:xfrm>
          <a:off x="0" y="4362317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b="1" kern="1200" dirty="0"/>
            <a:t>Sfrutta le potenzialità </a:t>
          </a:r>
          <a:r>
            <a:rPr lang="it-IT" sz="3200" kern="1200" dirty="0"/>
            <a:t>del network</a:t>
          </a:r>
        </a:p>
      </dsp:txBody>
      <dsp:txXfrm>
        <a:off x="0" y="4362317"/>
        <a:ext cx="7568973" cy="67896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F4688A-E129-4D40-93CC-4444A3527BFD}">
      <dsp:nvSpPr>
        <dsp:cNvPr id="0" name=""/>
        <dsp:cNvSpPr/>
      </dsp:nvSpPr>
      <dsp:spPr>
        <a:xfrm>
          <a:off x="0" y="54242"/>
          <a:ext cx="7568973" cy="983384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4100" kern="1200" dirty="0"/>
            <a:t>2. Crescere</a:t>
          </a:r>
        </a:p>
      </dsp:txBody>
      <dsp:txXfrm>
        <a:off x="48005" y="102247"/>
        <a:ext cx="7472963" cy="887374"/>
      </dsp:txXfrm>
    </dsp:sp>
    <dsp:sp modelId="{6030D4D0-E4F8-4984-9B7D-E22687DE4820}">
      <dsp:nvSpPr>
        <dsp:cNvPr id="0" name=""/>
        <dsp:cNvSpPr/>
      </dsp:nvSpPr>
      <dsp:spPr>
        <a:xfrm>
          <a:off x="0" y="1037627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b="0" kern="1200" dirty="0"/>
            <a:t>Svolgi</a:t>
          </a:r>
          <a:r>
            <a:rPr lang="it-IT" sz="3200" b="1" kern="1200" dirty="0"/>
            <a:t> formazione gratuita</a:t>
          </a:r>
          <a:endParaRPr lang="it-IT" sz="3200" kern="1200" dirty="0"/>
        </a:p>
      </dsp:txBody>
      <dsp:txXfrm>
        <a:off x="0" y="1037627"/>
        <a:ext cx="7568973" cy="678960"/>
      </dsp:txXfrm>
    </dsp:sp>
    <dsp:sp modelId="{F7290B78-ACBE-4728-B443-5B7962CD04F3}">
      <dsp:nvSpPr>
        <dsp:cNvPr id="0" name=""/>
        <dsp:cNvSpPr/>
      </dsp:nvSpPr>
      <dsp:spPr>
        <a:xfrm>
          <a:off x="0" y="1716587"/>
          <a:ext cx="7568973" cy="983384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4100" kern="1200" dirty="0"/>
            <a:t>2. Formazione</a:t>
          </a:r>
        </a:p>
      </dsp:txBody>
      <dsp:txXfrm>
        <a:off x="48005" y="1764592"/>
        <a:ext cx="7472963" cy="887374"/>
      </dsp:txXfrm>
    </dsp:sp>
    <dsp:sp modelId="{B33DFCDC-03DD-4996-8402-87CCA88F0A24}">
      <dsp:nvSpPr>
        <dsp:cNvPr id="0" name=""/>
        <dsp:cNvSpPr/>
      </dsp:nvSpPr>
      <dsp:spPr>
        <a:xfrm>
          <a:off x="0" y="2699972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b="1" kern="1200" dirty="0"/>
            <a:t>Risparmia </a:t>
          </a:r>
          <a:r>
            <a:rPr lang="it-IT" sz="3200" kern="1200" dirty="0"/>
            <a:t>per accrescere le competenze</a:t>
          </a:r>
        </a:p>
      </dsp:txBody>
      <dsp:txXfrm>
        <a:off x="0" y="2699972"/>
        <a:ext cx="7568973" cy="678960"/>
      </dsp:txXfrm>
    </dsp:sp>
    <dsp:sp modelId="{988E6670-4AEA-4057-9AFA-3D11BCACC4CF}">
      <dsp:nvSpPr>
        <dsp:cNvPr id="0" name=""/>
        <dsp:cNvSpPr/>
      </dsp:nvSpPr>
      <dsp:spPr>
        <a:xfrm>
          <a:off x="0" y="3378932"/>
          <a:ext cx="7568973" cy="983384"/>
        </a:xfrm>
        <a:prstGeom prst="roundRect">
          <a:avLst/>
        </a:prstGeom>
        <a:solidFill>
          <a:srgbClr val="0050AA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>
              <a:solidFill>
                <a:prstClr val="white"/>
              </a:solidFill>
              <a:latin typeface="Lidl Font Pro"/>
              <a:ea typeface="+mn-ea"/>
              <a:cs typeface="+mn-cs"/>
            </a:rPr>
            <a:t>3. Convenzioni</a:t>
          </a:r>
        </a:p>
      </dsp:txBody>
      <dsp:txXfrm>
        <a:off x="48005" y="3426937"/>
        <a:ext cx="7472963" cy="887374"/>
      </dsp:txXfrm>
    </dsp:sp>
    <dsp:sp modelId="{859294C6-48AA-456E-9414-CE007EF72D6C}">
      <dsp:nvSpPr>
        <dsp:cNvPr id="0" name=""/>
        <dsp:cNvSpPr/>
      </dsp:nvSpPr>
      <dsp:spPr>
        <a:xfrm>
          <a:off x="0" y="4362317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b="1" kern="1200" dirty="0"/>
            <a:t>Sfrutta le potenzialità </a:t>
          </a:r>
          <a:r>
            <a:rPr lang="it-IT" sz="3200" kern="1200" dirty="0"/>
            <a:t>del network</a:t>
          </a:r>
        </a:p>
      </dsp:txBody>
      <dsp:txXfrm>
        <a:off x="0" y="4362317"/>
        <a:ext cx="7568973" cy="67896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2351CD-6968-45CA-9A0B-8DABA183FA5E}">
      <dsp:nvSpPr>
        <dsp:cNvPr id="0" name=""/>
        <dsp:cNvSpPr/>
      </dsp:nvSpPr>
      <dsp:spPr>
        <a:xfrm>
          <a:off x="1120" y="0"/>
          <a:ext cx="1743590" cy="328355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0472" tIns="220472" rIns="220472" bIns="220472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100" b="1" kern="1200" dirty="0"/>
            <a:t>865</a:t>
          </a:r>
          <a:r>
            <a:rPr lang="it-IT" sz="3100" kern="1200" dirty="0"/>
            <a:t> allievi</a:t>
          </a:r>
        </a:p>
      </dsp:txBody>
      <dsp:txXfrm>
        <a:off x="1120" y="1313423"/>
        <a:ext cx="1743590" cy="1313423"/>
      </dsp:txXfrm>
    </dsp:sp>
    <dsp:sp modelId="{147D3F8F-9FE4-4C01-9E42-84B42D245D89}">
      <dsp:nvSpPr>
        <dsp:cNvPr id="0" name=""/>
        <dsp:cNvSpPr/>
      </dsp:nvSpPr>
      <dsp:spPr>
        <a:xfrm>
          <a:off x="326203" y="197013"/>
          <a:ext cx="1093425" cy="1093425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29DFD6-FC5A-48E4-84E1-C78F1FFFFEA0}">
      <dsp:nvSpPr>
        <dsp:cNvPr id="0" name=""/>
        <dsp:cNvSpPr/>
      </dsp:nvSpPr>
      <dsp:spPr>
        <a:xfrm>
          <a:off x="1797019" y="0"/>
          <a:ext cx="1743590" cy="328355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0472" tIns="220472" rIns="220472" bIns="220472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100" b="1" kern="1200" dirty="0"/>
            <a:t>86</a:t>
          </a:r>
          <a:r>
            <a:rPr lang="it-IT" sz="3100" kern="1200" dirty="0"/>
            <a:t>  corsi</a:t>
          </a:r>
        </a:p>
      </dsp:txBody>
      <dsp:txXfrm>
        <a:off x="1797019" y="1313423"/>
        <a:ext cx="1743590" cy="1313423"/>
      </dsp:txXfrm>
    </dsp:sp>
    <dsp:sp modelId="{A8B685EE-6B01-42E6-A1DC-EDBFE8486415}">
      <dsp:nvSpPr>
        <dsp:cNvPr id="0" name=""/>
        <dsp:cNvSpPr/>
      </dsp:nvSpPr>
      <dsp:spPr>
        <a:xfrm>
          <a:off x="2122101" y="197013"/>
          <a:ext cx="1093425" cy="1093425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2F44F4E-1366-4CBA-A10E-F6D8353873E4}">
      <dsp:nvSpPr>
        <dsp:cNvPr id="0" name=""/>
        <dsp:cNvSpPr/>
      </dsp:nvSpPr>
      <dsp:spPr>
        <a:xfrm>
          <a:off x="3592917" y="0"/>
          <a:ext cx="1743590" cy="328355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0472" tIns="220472" rIns="220472" bIns="220472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100" b="1" kern="1200" dirty="0"/>
            <a:t>432</a:t>
          </a:r>
          <a:r>
            <a:rPr lang="it-IT" sz="3100" kern="1200" dirty="0"/>
            <a:t> ore erogate</a:t>
          </a:r>
        </a:p>
      </dsp:txBody>
      <dsp:txXfrm>
        <a:off x="3592917" y="1313423"/>
        <a:ext cx="1743590" cy="1313423"/>
      </dsp:txXfrm>
    </dsp:sp>
    <dsp:sp modelId="{88B4BD17-8AF2-40EC-A896-746B602B444B}">
      <dsp:nvSpPr>
        <dsp:cNvPr id="0" name=""/>
        <dsp:cNvSpPr/>
      </dsp:nvSpPr>
      <dsp:spPr>
        <a:xfrm>
          <a:off x="3918000" y="197013"/>
          <a:ext cx="1093425" cy="1093425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FC7551C-BB73-4438-ADBA-F459A1F680A5}">
      <dsp:nvSpPr>
        <dsp:cNvPr id="0" name=""/>
        <dsp:cNvSpPr/>
      </dsp:nvSpPr>
      <dsp:spPr>
        <a:xfrm>
          <a:off x="213505" y="2464665"/>
          <a:ext cx="4910618" cy="816896"/>
        </a:xfrm>
        <a:prstGeom prst="leftRightArrow">
          <a:avLst/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F4688A-E129-4D40-93CC-4444A3527BFD}">
      <dsp:nvSpPr>
        <dsp:cNvPr id="0" name=""/>
        <dsp:cNvSpPr/>
      </dsp:nvSpPr>
      <dsp:spPr>
        <a:xfrm>
          <a:off x="0" y="54242"/>
          <a:ext cx="7568973" cy="983384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4100" kern="1200" dirty="0"/>
            <a:t>2. Crescere</a:t>
          </a:r>
        </a:p>
      </dsp:txBody>
      <dsp:txXfrm>
        <a:off x="48005" y="102247"/>
        <a:ext cx="7472963" cy="887374"/>
      </dsp:txXfrm>
    </dsp:sp>
    <dsp:sp modelId="{6030D4D0-E4F8-4984-9B7D-E22687DE4820}">
      <dsp:nvSpPr>
        <dsp:cNvPr id="0" name=""/>
        <dsp:cNvSpPr/>
      </dsp:nvSpPr>
      <dsp:spPr>
        <a:xfrm>
          <a:off x="0" y="1037627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b="1" kern="1200" dirty="0"/>
            <a:t>Risparmia </a:t>
          </a:r>
          <a:r>
            <a:rPr lang="it-IT" sz="3200" kern="1200" dirty="0"/>
            <a:t>per accrescere le competenze</a:t>
          </a:r>
        </a:p>
      </dsp:txBody>
      <dsp:txXfrm>
        <a:off x="0" y="1037627"/>
        <a:ext cx="7568973" cy="678960"/>
      </dsp:txXfrm>
    </dsp:sp>
    <dsp:sp modelId="{F7290B78-ACBE-4728-B443-5B7962CD04F3}">
      <dsp:nvSpPr>
        <dsp:cNvPr id="0" name=""/>
        <dsp:cNvSpPr/>
      </dsp:nvSpPr>
      <dsp:spPr>
        <a:xfrm>
          <a:off x="0" y="1716587"/>
          <a:ext cx="7568973" cy="983384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4100" kern="1200" dirty="0"/>
            <a:t>2. Formazione</a:t>
          </a:r>
        </a:p>
      </dsp:txBody>
      <dsp:txXfrm>
        <a:off x="48005" y="1764592"/>
        <a:ext cx="7472963" cy="887374"/>
      </dsp:txXfrm>
    </dsp:sp>
    <dsp:sp modelId="{B33DFCDC-03DD-4996-8402-87CCA88F0A24}">
      <dsp:nvSpPr>
        <dsp:cNvPr id="0" name=""/>
        <dsp:cNvSpPr/>
      </dsp:nvSpPr>
      <dsp:spPr>
        <a:xfrm>
          <a:off x="0" y="2699972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b="1" kern="1200" dirty="0"/>
            <a:t>Risparmia </a:t>
          </a:r>
          <a:r>
            <a:rPr lang="it-IT" sz="3200" kern="1200" dirty="0"/>
            <a:t>per accrescere le competenze</a:t>
          </a:r>
        </a:p>
      </dsp:txBody>
      <dsp:txXfrm>
        <a:off x="0" y="2699972"/>
        <a:ext cx="7568973" cy="678960"/>
      </dsp:txXfrm>
    </dsp:sp>
    <dsp:sp modelId="{988E6670-4AEA-4057-9AFA-3D11BCACC4CF}">
      <dsp:nvSpPr>
        <dsp:cNvPr id="0" name=""/>
        <dsp:cNvSpPr/>
      </dsp:nvSpPr>
      <dsp:spPr>
        <a:xfrm>
          <a:off x="0" y="3378932"/>
          <a:ext cx="7568973" cy="983384"/>
        </a:xfrm>
        <a:prstGeom prst="roundRect">
          <a:avLst/>
        </a:prstGeom>
        <a:solidFill>
          <a:srgbClr val="0050AA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>
              <a:solidFill>
                <a:prstClr val="white"/>
              </a:solidFill>
              <a:latin typeface="Lidl Font Pro"/>
              <a:ea typeface="+mn-ea"/>
              <a:cs typeface="+mn-cs"/>
            </a:rPr>
            <a:t>3. Convenzioni</a:t>
          </a:r>
        </a:p>
      </dsp:txBody>
      <dsp:txXfrm>
        <a:off x="48005" y="3426937"/>
        <a:ext cx="7472963" cy="887374"/>
      </dsp:txXfrm>
    </dsp:sp>
    <dsp:sp modelId="{859294C6-48AA-456E-9414-CE007EF72D6C}">
      <dsp:nvSpPr>
        <dsp:cNvPr id="0" name=""/>
        <dsp:cNvSpPr/>
      </dsp:nvSpPr>
      <dsp:spPr>
        <a:xfrm>
          <a:off x="0" y="4362317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b="1" kern="1200" dirty="0"/>
            <a:t>Sfrutta le potenzialità </a:t>
          </a:r>
          <a:r>
            <a:rPr lang="it-IT" sz="3200" kern="1200" dirty="0"/>
            <a:t>del network</a:t>
          </a:r>
        </a:p>
      </dsp:txBody>
      <dsp:txXfrm>
        <a:off x="0" y="4362317"/>
        <a:ext cx="7568973" cy="67896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F4688A-E129-4D40-93CC-4444A3527BFD}">
      <dsp:nvSpPr>
        <dsp:cNvPr id="0" name=""/>
        <dsp:cNvSpPr/>
      </dsp:nvSpPr>
      <dsp:spPr>
        <a:xfrm>
          <a:off x="0" y="54242"/>
          <a:ext cx="7568973" cy="983384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4100" kern="1200" dirty="0"/>
            <a:t>3. Conoscere</a:t>
          </a:r>
        </a:p>
      </dsp:txBody>
      <dsp:txXfrm>
        <a:off x="48005" y="102247"/>
        <a:ext cx="7472963" cy="887374"/>
      </dsp:txXfrm>
    </dsp:sp>
    <dsp:sp modelId="{6030D4D0-E4F8-4984-9B7D-E22687DE4820}">
      <dsp:nvSpPr>
        <dsp:cNvPr id="0" name=""/>
        <dsp:cNvSpPr/>
      </dsp:nvSpPr>
      <dsp:spPr>
        <a:xfrm>
          <a:off x="0" y="1037627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kern="1200" dirty="0"/>
            <a:t>Hai </a:t>
          </a:r>
          <a:r>
            <a:rPr lang="it-IT" sz="3200" b="1" kern="1200" dirty="0"/>
            <a:t>news utili </a:t>
          </a:r>
          <a:r>
            <a:rPr lang="it-IT" sz="3200" kern="1200" dirty="0"/>
            <a:t>per la tua attività</a:t>
          </a:r>
        </a:p>
      </dsp:txBody>
      <dsp:txXfrm>
        <a:off x="0" y="1037627"/>
        <a:ext cx="7568973" cy="678960"/>
      </dsp:txXfrm>
    </dsp:sp>
    <dsp:sp modelId="{F7290B78-ACBE-4728-B443-5B7962CD04F3}">
      <dsp:nvSpPr>
        <dsp:cNvPr id="0" name=""/>
        <dsp:cNvSpPr/>
      </dsp:nvSpPr>
      <dsp:spPr>
        <a:xfrm>
          <a:off x="0" y="1716587"/>
          <a:ext cx="7568973" cy="983384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4100" kern="1200" dirty="0"/>
            <a:t>2. Formazione</a:t>
          </a:r>
        </a:p>
      </dsp:txBody>
      <dsp:txXfrm>
        <a:off x="48005" y="1764592"/>
        <a:ext cx="7472963" cy="887374"/>
      </dsp:txXfrm>
    </dsp:sp>
    <dsp:sp modelId="{B33DFCDC-03DD-4996-8402-87CCA88F0A24}">
      <dsp:nvSpPr>
        <dsp:cNvPr id="0" name=""/>
        <dsp:cNvSpPr/>
      </dsp:nvSpPr>
      <dsp:spPr>
        <a:xfrm>
          <a:off x="0" y="2699972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b="1" kern="1200" dirty="0"/>
            <a:t>Risparmia </a:t>
          </a:r>
          <a:r>
            <a:rPr lang="it-IT" sz="3200" kern="1200" dirty="0"/>
            <a:t>per accrescere le competenze</a:t>
          </a:r>
        </a:p>
      </dsp:txBody>
      <dsp:txXfrm>
        <a:off x="0" y="2699972"/>
        <a:ext cx="7568973" cy="678960"/>
      </dsp:txXfrm>
    </dsp:sp>
    <dsp:sp modelId="{988E6670-4AEA-4057-9AFA-3D11BCACC4CF}">
      <dsp:nvSpPr>
        <dsp:cNvPr id="0" name=""/>
        <dsp:cNvSpPr/>
      </dsp:nvSpPr>
      <dsp:spPr>
        <a:xfrm>
          <a:off x="0" y="3378932"/>
          <a:ext cx="7568973" cy="983384"/>
        </a:xfrm>
        <a:prstGeom prst="roundRect">
          <a:avLst/>
        </a:prstGeom>
        <a:solidFill>
          <a:srgbClr val="0050AA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>
              <a:solidFill>
                <a:prstClr val="white"/>
              </a:solidFill>
              <a:latin typeface="Lidl Font Pro"/>
              <a:ea typeface="+mn-ea"/>
              <a:cs typeface="+mn-cs"/>
            </a:rPr>
            <a:t>3. Convenzioni</a:t>
          </a:r>
        </a:p>
      </dsp:txBody>
      <dsp:txXfrm>
        <a:off x="48005" y="3426937"/>
        <a:ext cx="7472963" cy="887374"/>
      </dsp:txXfrm>
    </dsp:sp>
    <dsp:sp modelId="{859294C6-48AA-456E-9414-CE007EF72D6C}">
      <dsp:nvSpPr>
        <dsp:cNvPr id="0" name=""/>
        <dsp:cNvSpPr/>
      </dsp:nvSpPr>
      <dsp:spPr>
        <a:xfrm>
          <a:off x="0" y="4362317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b="1" kern="1200" dirty="0"/>
            <a:t>Sfrutta le potenzialità </a:t>
          </a:r>
          <a:r>
            <a:rPr lang="it-IT" sz="3200" kern="1200" dirty="0"/>
            <a:t>del network</a:t>
          </a:r>
        </a:p>
      </dsp:txBody>
      <dsp:txXfrm>
        <a:off x="0" y="4362317"/>
        <a:ext cx="7568973" cy="67896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F4688A-E129-4D40-93CC-4444A3527BFD}">
      <dsp:nvSpPr>
        <dsp:cNvPr id="0" name=""/>
        <dsp:cNvSpPr/>
      </dsp:nvSpPr>
      <dsp:spPr>
        <a:xfrm>
          <a:off x="0" y="54242"/>
          <a:ext cx="7568973" cy="983384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4100" kern="1200" dirty="0"/>
            <a:t>3. Conoscere </a:t>
          </a:r>
        </a:p>
      </dsp:txBody>
      <dsp:txXfrm>
        <a:off x="48005" y="102247"/>
        <a:ext cx="7472963" cy="887374"/>
      </dsp:txXfrm>
    </dsp:sp>
    <dsp:sp modelId="{6030D4D0-E4F8-4984-9B7D-E22687DE4820}">
      <dsp:nvSpPr>
        <dsp:cNvPr id="0" name=""/>
        <dsp:cNvSpPr/>
      </dsp:nvSpPr>
      <dsp:spPr>
        <a:xfrm>
          <a:off x="0" y="1037627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kern="1200" dirty="0"/>
            <a:t>Hai </a:t>
          </a:r>
          <a:r>
            <a:rPr lang="it-IT" sz="3200" b="1" kern="1200" dirty="0"/>
            <a:t>news utili </a:t>
          </a:r>
          <a:r>
            <a:rPr lang="it-IT" sz="3200" kern="1200" dirty="0"/>
            <a:t>a portata di un clic</a:t>
          </a:r>
        </a:p>
      </dsp:txBody>
      <dsp:txXfrm>
        <a:off x="0" y="1037627"/>
        <a:ext cx="7568973" cy="678960"/>
      </dsp:txXfrm>
    </dsp:sp>
    <dsp:sp modelId="{F7290B78-ACBE-4728-B443-5B7962CD04F3}">
      <dsp:nvSpPr>
        <dsp:cNvPr id="0" name=""/>
        <dsp:cNvSpPr/>
      </dsp:nvSpPr>
      <dsp:spPr>
        <a:xfrm>
          <a:off x="0" y="1716587"/>
          <a:ext cx="7568973" cy="983384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4100" kern="1200" dirty="0"/>
            <a:t>2. Formazione</a:t>
          </a:r>
        </a:p>
      </dsp:txBody>
      <dsp:txXfrm>
        <a:off x="48005" y="1764592"/>
        <a:ext cx="7472963" cy="887374"/>
      </dsp:txXfrm>
    </dsp:sp>
    <dsp:sp modelId="{B33DFCDC-03DD-4996-8402-87CCA88F0A24}">
      <dsp:nvSpPr>
        <dsp:cNvPr id="0" name=""/>
        <dsp:cNvSpPr/>
      </dsp:nvSpPr>
      <dsp:spPr>
        <a:xfrm>
          <a:off x="0" y="2699972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b="1" kern="1200" dirty="0"/>
            <a:t>Risparmia </a:t>
          </a:r>
          <a:r>
            <a:rPr lang="it-IT" sz="3200" kern="1200" dirty="0"/>
            <a:t>per accrescere le competenze</a:t>
          </a:r>
        </a:p>
      </dsp:txBody>
      <dsp:txXfrm>
        <a:off x="0" y="2699972"/>
        <a:ext cx="7568973" cy="678960"/>
      </dsp:txXfrm>
    </dsp:sp>
    <dsp:sp modelId="{988E6670-4AEA-4057-9AFA-3D11BCACC4CF}">
      <dsp:nvSpPr>
        <dsp:cNvPr id="0" name=""/>
        <dsp:cNvSpPr/>
      </dsp:nvSpPr>
      <dsp:spPr>
        <a:xfrm>
          <a:off x="0" y="3378932"/>
          <a:ext cx="7568973" cy="983384"/>
        </a:xfrm>
        <a:prstGeom prst="roundRect">
          <a:avLst/>
        </a:prstGeom>
        <a:solidFill>
          <a:srgbClr val="0050AA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900" kern="1200" dirty="0">
              <a:solidFill>
                <a:prstClr val="white"/>
              </a:solidFill>
              <a:latin typeface="Lidl Font Pro"/>
              <a:ea typeface="+mn-ea"/>
              <a:cs typeface="+mn-cs"/>
            </a:rPr>
            <a:t>3. Convenzioni</a:t>
          </a:r>
        </a:p>
      </dsp:txBody>
      <dsp:txXfrm>
        <a:off x="48005" y="3426937"/>
        <a:ext cx="7472963" cy="887374"/>
      </dsp:txXfrm>
    </dsp:sp>
    <dsp:sp modelId="{859294C6-48AA-456E-9414-CE007EF72D6C}">
      <dsp:nvSpPr>
        <dsp:cNvPr id="0" name=""/>
        <dsp:cNvSpPr/>
      </dsp:nvSpPr>
      <dsp:spPr>
        <a:xfrm>
          <a:off x="0" y="4362317"/>
          <a:ext cx="7568973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0315" tIns="52070" rIns="291592" bIns="52070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-IT" sz="3200" b="1" kern="1200" dirty="0"/>
            <a:t>Sfrutta le potenzialità </a:t>
          </a:r>
          <a:r>
            <a:rPr lang="it-IT" sz="3200" kern="1200" dirty="0"/>
            <a:t>del network</a:t>
          </a:r>
        </a:p>
      </dsp:txBody>
      <dsp:txXfrm>
        <a:off x="0" y="4362317"/>
        <a:ext cx="7568973" cy="6789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386119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pos="313" userDrawn="1">
          <p15:clr>
            <a:srgbClr val="F26B43"/>
          </p15:clr>
        </p15:guide>
        <p15:guide id="2" pos="4165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160713" y="765175"/>
            <a:ext cx="3581400" cy="2016125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vert="horz" lIns="99075" tIns="49538" rIns="99075" bIns="49538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93775" y="3102377"/>
            <a:ext cx="6115834" cy="612483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493775" y="281519"/>
            <a:ext cx="3078427" cy="1611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300">
                <a:solidFill>
                  <a:schemeClr val="tx1"/>
                </a:solidFill>
                <a:latin typeface="+mn-lt"/>
              </a:defRPr>
            </a:lvl1pPr>
          </a:lstStyle>
          <a:p>
            <a:endParaRPr lang="de-DE" sz="1100"/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866816" y="9791919"/>
            <a:ext cx="745833" cy="1611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606352C4-00F2-4378-880D-566B190ADEE4}" type="datetime1">
              <a:rPr lang="de-DE" sz="1100" smtClean="0"/>
              <a:pPr/>
              <a:t>21.02.2024</a:t>
            </a:fld>
            <a:endParaRPr lang="de-DE" sz="110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4"/>
          </p:nvPr>
        </p:nvSpPr>
        <p:spPr bwMode="gray">
          <a:xfrm>
            <a:off x="1687606" y="9791919"/>
            <a:ext cx="4475000" cy="1611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sz="1100"/>
              <a:t>Titel1 der Präsentation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5"/>
          </p:nvPr>
        </p:nvSpPr>
        <p:spPr bwMode="gray">
          <a:xfrm>
            <a:off x="494172" y="9791919"/>
            <a:ext cx="297969" cy="1611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8FF9B0DE-3FEB-4AA0-B465-B80EF7C1333D}" type="slidenum">
              <a:rPr lang="de-DE" sz="1100" smtClean="0"/>
              <a:pPr/>
              <a:t>‹N›</a:t>
            </a:fld>
            <a:endParaRPr lang="de-DE" sz="1100"/>
          </a:p>
        </p:txBody>
      </p:sp>
      <p:pic>
        <p:nvPicPr>
          <p:cNvPr id="11" name="Obraz 10">
            <a:extLst>
              <a:ext uri="{FF2B5EF4-FFF2-40B4-BE49-F238E27FC236}">
                <a16:creationId xmlns:a16="http://schemas.microsoft.com/office/drawing/2014/main" id="{F0B15FF4-5A8B-4F80-B8F7-8FCB3C15FF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5911" y="9550129"/>
            <a:ext cx="372917" cy="402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1987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lnSpc>
        <a:spcPct val="110000"/>
      </a:lnSpc>
      <a:spcBef>
        <a:spcPts val="1200"/>
      </a:spcBef>
      <a:defRPr sz="1333" b="1" i="0" kern="1200">
        <a:solidFill>
          <a:schemeClr val="tx1"/>
        </a:solidFill>
        <a:latin typeface="Lidl Font Pro" panose="02000000000000000000" pitchFamily="2" charset="0"/>
        <a:ea typeface="+mn-ea"/>
        <a:cs typeface="+mn-cs"/>
      </a:defRPr>
    </a:lvl1pPr>
  </p:notesStyle>
  <p:extLst>
    <p:ext uri="{620B2872-D7B9-4A21-9093-7833F8D536E1}">
      <p15:sldGuideLst xmlns:p15="http://schemas.microsoft.com/office/powerpoint/2012/main">
        <p15:guide id="1" pos="313" userDrawn="1">
          <p15:clr>
            <a:srgbClr val="F26B43"/>
          </p15:clr>
        </p15:guide>
        <p15:guide id="2" pos="4165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9B0DE-3FEB-4AA0-B465-B80EF7C1333D}" type="slidenum">
              <a:rPr lang="de-DE" sz="1100"/>
              <a:pPr/>
              <a:t>1</a:t>
            </a:fld>
            <a:endParaRPr lang="de-DE" sz="1100" dirty="0"/>
          </a:p>
        </p:txBody>
      </p:sp>
    </p:spTree>
    <p:extLst>
      <p:ext uri="{BB962C8B-B14F-4D97-AF65-F5344CB8AC3E}">
        <p14:creationId xmlns:p14="http://schemas.microsoft.com/office/powerpoint/2010/main" val="20650000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855663"/>
            <a:ext cx="4008437" cy="22558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F9B0DE-3FEB-4AA0-B465-B80EF7C1333D}" type="slidenum">
              <a:rPr lang="de-DE" sz="1100"/>
              <a:pPr/>
              <a:t>10</a:t>
            </a:fld>
            <a:endParaRPr lang="de-DE" sz="1100"/>
          </a:p>
        </p:txBody>
      </p:sp>
    </p:spTree>
    <p:extLst>
      <p:ext uri="{BB962C8B-B14F-4D97-AF65-F5344CB8AC3E}">
        <p14:creationId xmlns:p14="http://schemas.microsoft.com/office/powerpoint/2010/main" val="22020070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855663"/>
            <a:ext cx="4008437" cy="22558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F9B0DE-3FEB-4AA0-B465-B80EF7C1333D}" type="slidenum">
              <a:rPr lang="de-DE" sz="1100"/>
              <a:pPr/>
              <a:t>11</a:t>
            </a:fld>
            <a:endParaRPr lang="de-DE" sz="1100"/>
          </a:p>
        </p:txBody>
      </p:sp>
    </p:spTree>
    <p:extLst>
      <p:ext uri="{BB962C8B-B14F-4D97-AF65-F5344CB8AC3E}">
        <p14:creationId xmlns:p14="http://schemas.microsoft.com/office/powerpoint/2010/main" val="24942376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855663"/>
            <a:ext cx="4008437" cy="22558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F9B0DE-3FEB-4AA0-B465-B80EF7C1333D}" type="slidenum">
              <a:rPr lang="de-DE" sz="1100"/>
              <a:pPr/>
              <a:t>12</a:t>
            </a:fld>
            <a:endParaRPr lang="de-DE" sz="1100"/>
          </a:p>
        </p:txBody>
      </p:sp>
    </p:spTree>
    <p:extLst>
      <p:ext uri="{BB962C8B-B14F-4D97-AF65-F5344CB8AC3E}">
        <p14:creationId xmlns:p14="http://schemas.microsoft.com/office/powerpoint/2010/main" val="152379927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855663"/>
            <a:ext cx="4008437" cy="22558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F9B0DE-3FEB-4AA0-B465-B80EF7C1333D}" type="slidenum">
              <a:rPr lang="de-DE" sz="1100"/>
              <a:pPr/>
              <a:t>13</a:t>
            </a:fld>
            <a:endParaRPr lang="de-DE" sz="1100"/>
          </a:p>
        </p:txBody>
      </p:sp>
    </p:spTree>
    <p:extLst>
      <p:ext uri="{BB962C8B-B14F-4D97-AF65-F5344CB8AC3E}">
        <p14:creationId xmlns:p14="http://schemas.microsoft.com/office/powerpoint/2010/main" val="2328319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179763" y="684213"/>
            <a:ext cx="3200400" cy="1800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575032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B73EBE-DFA4-9B1F-B2F2-C7D4BD3668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CB8E512-E057-61F2-51D8-E2FD9B70AE0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125788" y="855663"/>
            <a:ext cx="4008437" cy="2255837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EDECC79-8A3B-2150-9998-E34DFE3619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DCB863-D7B4-8A81-CA40-BA94670B51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F9B0DE-3FEB-4AA0-B465-B80EF7C1333D}" type="slidenum">
              <a:rPr lang="de-DE" sz="1100"/>
              <a:pPr/>
              <a:t>15</a:t>
            </a:fld>
            <a:endParaRPr lang="de-DE" sz="1100"/>
          </a:p>
        </p:txBody>
      </p:sp>
    </p:spTree>
    <p:extLst>
      <p:ext uri="{BB962C8B-B14F-4D97-AF65-F5344CB8AC3E}">
        <p14:creationId xmlns:p14="http://schemas.microsoft.com/office/powerpoint/2010/main" val="33660417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9B0DE-3FEB-4AA0-B465-B80EF7C1333D}" type="slidenum">
              <a:rPr lang="de-DE" sz="1100"/>
              <a:pPr/>
              <a:t>16</a:t>
            </a:fld>
            <a:endParaRPr lang="de-DE" sz="1100" dirty="0"/>
          </a:p>
        </p:txBody>
      </p:sp>
    </p:spTree>
    <p:extLst>
      <p:ext uri="{BB962C8B-B14F-4D97-AF65-F5344CB8AC3E}">
        <p14:creationId xmlns:p14="http://schemas.microsoft.com/office/powerpoint/2010/main" val="28961227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9B0DE-3FEB-4AA0-B465-B80EF7C1333D}" type="slidenum">
              <a:rPr lang="de-DE" sz="1000" smtClean="0"/>
              <a:pPr/>
              <a:t>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39263048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b="1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9B0DE-3FEB-4AA0-B465-B80EF7C1333D}" type="slidenum">
              <a:rPr lang="de-DE" sz="1000" smtClean="0"/>
              <a:pPr/>
              <a:t>3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7006502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855663"/>
            <a:ext cx="4008437" cy="22558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F9B0DE-3FEB-4AA0-B465-B80EF7C1333D}" type="slidenum">
              <a:rPr lang="de-DE" sz="1100"/>
              <a:pPr/>
              <a:t>4</a:t>
            </a:fld>
            <a:endParaRPr lang="de-DE" sz="1100"/>
          </a:p>
        </p:txBody>
      </p:sp>
    </p:spTree>
    <p:extLst>
      <p:ext uri="{BB962C8B-B14F-4D97-AF65-F5344CB8AC3E}">
        <p14:creationId xmlns:p14="http://schemas.microsoft.com/office/powerpoint/2010/main" val="37803986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855663"/>
            <a:ext cx="4008437" cy="22558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F9B0DE-3FEB-4AA0-B465-B80EF7C1333D}" type="slidenum">
              <a:rPr lang="de-DE" sz="1100"/>
              <a:pPr/>
              <a:t>5</a:t>
            </a:fld>
            <a:endParaRPr lang="de-DE" sz="1100"/>
          </a:p>
        </p:txBody>
      </p:sp>
    </p:spTree>
    <p:extLst>
      <p:ext uri="{BB962C8B-B14F-4D97-AF65-F5344CB8AC3E}">
        <p14:creationId xmlns:p14="http://schemas.microsoft.com/office/powerpoint/2010/main" val="37845164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855663"/>
            <a:ext cx="4008437" cy="22558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F9B0DE-3FEB-4AA0-B465-B80EF7C1333D}" type="slidenum">
              <a:rPr lang="de-DE" sz="1100"/>
              <a:pPr/>
              <a:t>6</a:t>
            </a:fld>
            <a:endParaRPr lang="de-DE" sz="1100"/>
          </a:p>
        </p:txBody>
      </p:sp>
    </p:spTree>
    <p:extLst>
      <p:ext uri="{BB962C8B-B14F-4D97-AF65-F5344CB8AC3E}">
        <p14:creationId xmlns:p14="http://schemas.microsoft.com/office/powerpoint/2010/main" val="20439217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855663"/>
            <a:ext cx="4008437" cy="22558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F9B0DE-3FEB-4AA0-B465-B80EF7C1333D}" type="slidenum">
              <a:rPr lang="de-DE" sz="1100"/>
              <a:pPr/>
              <a:t>7</a:t>
            </a:fld>
            <a:endParaRPr lang="de-DE" sz="1100"/>
          </a:p>
        </p:txBody>
      </p:sp>
    </p:spTree>
    <p:extLst>
      <p:ext uri="{BB962C8B-B14F-4D97-AF65-F5344CB8AC3E}">
        <p14:creationId xmlns:p14="http://schemas.microsoft.com/office/powerpoint/2010/main" val="8405730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855663"/>
            <a:ext cx="4008437" cy="22558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F9B0DE-3FEB-4AA0-B465-B80EF7C1333D}" type="slidenum">
              <a:rPr lang="de-DE" sz="1100"/>
              <a:pPr/>
              <a:t>8</a:t>
            </a:fld>
            <a:endParaRPr lang="de-DE" sz="1100"/>
          </a:p>
        </p:txBody>
      </p:sp>
    </p:spTree>
    <p:extLst>
      <p:ext uri="{BB962C8B-B14F-4D97-AF65-F5344CB8AC3E}">
        <p14:creationId xmlns:p14="http://schemas.microsoft.com/office/powerpoint/2010/main" val="8502533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855663"/>
            <a:ext cx="4008437" cy="22558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F9B0DE-3FEB-4AA0-B465-B80EF7C1333D}" type="slidenum">
              <a:rPr lang="de-DE" sz="1100"/>
              <a:pPr/>
              <a:t>9</a:t>
            </a:fld>
            <a:endParaRPr lang="de-DE" sz="1100"/>
          </a:p>
        </p:txBody>
      </p:sp>
    </p:spTree>
    <p:extLst>
      <p:ext uri="{BB962C8B-B14F-4D97-AF65-F5344CB8AC3E}">
        <p14:creationId xmlns:p14="http://schemas.microsoft.com/office/powerpoint/2010/main" val="11812676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89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343472" y="1557339"/>
            <a:ext cx="8856000" cy="1655478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it-IT" noProof="0"/>
              <a:t>Titolo presentazione</a:t>
            </a:r>
            <a:br>
              <a:rPr lang="it-IT" noProof="0"/>
            </a:br>
            <a:r>
              <a:rPr lang="it-IT" noProof="0"/>
              <a:t>(in 1-2 righe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343472" y="3357152"/>
            <a:ext cx="8856000" cy="115184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1pPr>
            <a:lvl2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 i="0">
                <a:solidFill>
                  <a:schemeClr val="bg1"/>
                </a:solidFill>
                <a:latin typeface="+mn-lt"/>
              </a:defRPr>
            </a:lvl2pPr>
            <a:lvl3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 i="0">
                <a:solidFill>
                  <a:schemeClr val="bg1"/>
                </a:solidFill>
                <a:latin typeface="+mn-lt"/>
              </a:defRPr>
            </a:lvl3pPr>
            <a:lvl4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it-IT" noProof="0"/>
              <a:t>Sottotitolo della presentazione</a:t>
            </a:r>
            <a:br>
              <a:rPr lang="it-IT" noProof="0"/>
            </a:br>
            <a:r>
              <a:rPr lang="it-IT" noProof="0"/>
              <a:t>(in 1-2 righe)</a:t>
            </a:r>
          </a:p>
          <a:p>
            <a:pPr lvl="1"/>
            <a:r>
              <a:rPr lang="it-IT" noProof="0"/>
              <a:t>Livello 2</a:t>
            </a:r>
          </a:p>
          <a:p>
            <a:pPr lvl="2"/>
            <a:r>
              <a:rPr lang="it-IT" noProof="0"/>
              <a:t>Livello 3</a:t>
            </a:r>
          </a:p>
          <a:p>
            <a:pPr lvl="3"/>
            <a:r>
              <a:rPr lang="it-IT" noProof="0"/>
              <a:t>Livello 4</a:t>
            </a:r>
          </a:p>
          <a:p>
            <a:pPr lvl="4"/>
            <a:r>
              <a:rPr lang="it-IT" noProof="0"/>
              <a:t>Livelllo 5</a:t>
            </a:r>
          </a:p>
          <a:p>
            <a:pPr lvl="5"/>
            <a:r>
              <a:rPr lang="it-IT" noProof="0"/>
              <a:t>Livello 6</a:t>
            </a:r>
          </a:p>
          <a:p>
            <a:pPr lvl="6"/>
            <a:r>
              <a:rPr lang="it-IT" noProof="0"/>
              <a:t>Livello 7</a:t>
            </a:r>
          </a:p>
          <a:p>
            <a:pPr lvl="7"/>
            <a:r>
              <a:rPr lang="it-IT" noProof="0"/>
              <a:t>Livello 8</a:t>
            </a:r>
          </a:p>
          <a:p>
            <a:pPr lvl="8"/>
            <a:r>
              <a:rPr lang="it-IT" noProof="0"/>
              <a:t>Livello 9</a:t>
            </a:r>
          </a:p>
          <a:p>
            <a:endParaRPr lang="it-IT" noProof="0"/>
          </a:p>
        </p:txBody>
      </p:sp>
      <p:sp>
        <p:nvSpPr>
          <p:cNvPr id="50" name="Textplatzhalter 9">
            <a:extLst>
              <a:ext uri="{FF2B5EF4-FFF2-40B4-BE49-F238E27FC236}">
                <a16:creationId xmlns:a16="http://schemas.microsoft.com/office/drawing/2014/main" id="{3656EE1D-B61E-47A5-9B5C-F55BD7EAF9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43472" y="5733296"/>
            <a:ext cx="6912018" cy="36000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bg1"/>
                </a:solidFill>
                <a:latin typeface="+mn-lt"/>
              </a:defRPr>
            </a:lvl2pPr>
            <a:lvl3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bg1"/>
                </a:solidFill>
                <a:latin typeface="+mn-lt"/>
              </a:defRPr>
            </a:lvl3pPr>
            <a:lvl4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Luogo, X mese, xxxx</a:t>
            </a:r>
          </a:p>
          <a:p>
            <a:pPr lvl="1"/>
            <a:r>
              <a:rPr lang="it-IT" noProof="0"/>
              <a:t>Livello 2</a:t>
            </a:r>
          </a:p>
          <a:p>
            <a:pPr lvl="1"/>
            <a:r>
              <a:rPr lang="it-IT" noProof="0"/>
              <a:t>Livello 3</a:t>
            </a:r>
          </a:p>
          <a:p>
            <a:pPr lvl="1"/>
            <a:r>
              <a:rPr lang="it-IT" noProof="0"/>
              <a:t>Livello 4</a:t>
            </a:r>
          </a:p>
          <a:p>
            <a:pPr lvl="1"/>
            <a:r>
              <a:rPr lang="it-IT" noProof="0"/>
              <a:t>Livello 5</a:t>
            </a:r>
          </a:p>
          <a:p>
            <a:pPr lvl="1"/>
            <a:r>
              <a:rPr lang="it-IT" noProof="0"/>
              <a:t>Livello 6</a:t>
            </a:r>
          </a:p>
          <a:p>
            <a:pPr lvl="1"/>
            <a:r>
              <a:rPr lang="it-IT" noProof="0"/>
              <a:t>Livello 7</a:t>
            </a:r>
          </a:p>
          <a:p>
            <a:pPr lvl="1"/>
            <a:r>
              <a:rPr lang="it-IT" noProof="0"/>
              <a:t>Livello 8</a:t>
            </a:r>
          </a:p>
          <a:p>
            <a:pPr lvl="1"/>
            <a:r>
              <a:rPr lang="it-IT" noProof="0"/>
              <a:t>Livello 9</a:t>
            </a:r>
          </a:p>
        </p:txBody>
      </p:sp>
    </p:spTree>
    <p:extLst>
      <p:ext uri="{BB962C8B-B14F-4D97-AF65-F5344CB8AC3E}">
        <p14:creationId xmlns:p14="http://schemas.microsoft.com/office/powerpoint/2010/main" val="19661340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aratore capitoli con immagine (versione per stamp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4" hidden="1">
            <a:extLst>
              <a:ext uri="{FF2B5EF4-FFF2-40B4-BE49-F238E27FC236}">
                <a16:creationId xmlns:a16="http://schemas.microsoft.com/office/drawing/2014/main" id="{F86DD87C-3A58-45E5-8112-44900FCBFC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7730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5" name="Obiekt 4" hidden="1">
                        <a:extLst>
                          <a:ext uri="{FF2B5EF4-FFF2-40B4-BE49-F238E27FC236}">
                            <a16:creationId xmlns:a16="http://schemas.microsoft.com/office/drawing/2014/main" id="{F86DD87C-3A58-45E5-8112-44900FCBFC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59150" y="1340768"/>
            <a:ext cx="4537075" cy="1655478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-IT" noProof="0"/>
              <a:t>Titolo della presentazione </a:t>
            </a:r>
            <a:br>
              <a:rPr lang="it-IT" noProof="0"/>
            </a:br>
            <a:r>
              <a:rPr lang="it-IT" noProof="0"/>
              <a:t>(1 o 2 righe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59150" y="3573176"/>
            <a:ext cx="4537075" cy="1440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it-IT" noProof="0"/>
              <a:t>Eventuale sottotitolo </a:t>
            </a:r>
          </a:p>
          <a:p>
            <a:r>
              <a:rPr lang="it-IT" noProof="0"/>
              <a:t>(1 o 2 righe)</a:t>
            </a:r>
          </a:p>
          <a:p>
            <a:r>
              <a:rPr lang="it-IT" noProof="0"/>
              <a:t>Livello 2</a:t>
            </a:r>
          </a:p>
          <a:p>
            <a:r>
              <a:rPr lang="it-IT" noProof="0"/>
              <a:t>Livello 3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4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5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6</a:t>
            </a:r>
          </a:p>
          <a:p>
            <a:r>
              <a:rPr lang="it-IT" noProof="0"/>
              <a:t>Livello 7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8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9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147366A-AF80-4876-A258-9ABD39B636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359820"/>
            <a:ext cx="2519363" cy="1584325"/>
          </a:xfrm>
        </p:spPr>
        <p:txBody>
          <a:bodyPr tIns="144000" anchor="ctr" anchorCtr="0"/>
          <a:lstStyle>
            <a:lvl1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it-IT" noProof="0"/>
              <a:t>00</a:t>
            </a:r>
          </a:p>
          <a:p>
            <a:pPr lvl="0"/>
            <a:r>
              <a:rPr lang="it-IT" noProof="0"/>
              <a:t>Second level</a:t>
            </a:r>
          </a:p>
          <a:p>
            <a:pPr lvl="0"/>
            <a:r>
              <a:rPr lang="it-IT" noProof="0"/>
              <a:t>Third level</a:t>
            </a:r>
          </a:p>
          <a:p>
            <a:pPr lvl="0"/>
            <a:r>
              <a:rPr lang="it-IT" noProof="0"/>
              <a:t>Fourth level</a:t>
            </a:r>
          </a:p>
          <a:p>
            <a:pPr lvl="0"/>
            <a:r>
              <a:rPr lang="it-IT" noProof="0"/>
              <a:t>Fifth level</a:t>
            </a:r>
          </a:p>
          <a:p>
            <a:pPr lvl="0"/>
            <a:r>
              <a:rPr lang="it-IT" noProof="0"/>
              <a:t>Six</a:t>
            </a:r>
          </a:p>
          <a:p>
            <a:pPr lvl="0"/>
            <a:r>
              <a:rPr lang="it-IT" noProof="0"/>
              <a:t>Seven</a:t>
            </a:r>
          </a:p>
          <a:p>
            <a:pPr lvl="0"/>
            <a:r>
              <a:rPr lang="it-IT" noProof="0"/>
              <a:t>Eight</a:t>
            </a:r>
          </a:p>
          <a:p>
            <a:pPr lvl="0"/>
            <a:r>
              <a:rPr lang="it-IT" noProof="0"/>
              <a:t>Ni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62EF2F3-AE5D-4BD1-B244-0252E5F562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8183562" y="0"/>
            <a:ext cx="4008437" cy="6857999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2159015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11E6238-6B3F-42F9-B0C2-E51B74CFD7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0102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11E6238-6B3F-42F9-B0C2-E51B74CFD7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8" y="1557338"/>
            <a:ext cx="11376025" cy="446404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b="0"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864000" marR="0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it-IT" noProof="0"/>
              <a:t>Fare clic per inserire il testo</a:t>
            </a:r>
          </a:p>
          <a:p>
            <a:pPr lvl="1"/>
            <a:r>
              <a:rPr lang="it-IT" noProof="0"/>
              <a:t>Livello 2</a:t>
            </a:r>
          </a:p>
          <a:p>
            <a:pPr lvl="2"/>
            <a:r>
              <a:rPr lang="it-IT" noProof="0"/>
              <a:t>Livello 3 </a:t>
            </a:r>
          </a:p>
          <a:p>
            <a:pPr lvl="3"/>
            <a:r>
              <a:rPr lang="it-IT" noProof="0"/>
              <a:t>Livello 4 </a:t>
            </a:r>
          </a:p>
          <a:p>
            <a:pPr lvl="4"/>
            <a:r>
              <a:rPr lang="it-IT" noProof="0"/>
              <a:t>Livello 5</a:t>
            </a:r>
          </a:p>
          <a:p>
            <a:pPr lvl="5"/>
            <a:r>
              <a:rPr lang="it-IT" noProof="0"/>
              <a:t>Livello 6</a:t>
            </a:r>
          </a:p>
          <a:p>
            <a:pPr lvl="5"/>
            <a:r>
              <a:rPr lang="it-IT" noProof="0"/>
              <a:t>Livello 7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8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9</a:t>
            </a:r>
          </a:p>
          <a:p>
            <a:endParaRPr lang="it-IT" noProof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Note a piè pagina/ Fonti</a:t>
            </a:r>
          </a:p>
          <a:p>
            <a:pPr lvl="1"/>
            <a:r>
              <a:rPr lang="it-IT" noProof="0"/>
              <a:t>Livello 2</a:t>
            </a:r>
          </a:p>
          <a:p>
            <a:pPr lvl="1"/>
            <a:r>
              <a:rPr lang="it-IT" noProof="0"/>
              <a:t>Livello 3</a:t>
            </a:r>
          </a:p>
          <a:p>
            <a:pPr lvl="1"/>
            <a:r>
              <a:rPr lang="it-IT" noProof="0"/>
              <a:t>Livello 4</a:t>
            </a:r>
          </a:p>
          <a:p>
            <a:pPr lvl="1"/>
            <a:r>
              <a:rPr lang="it-IT" noProof="0"/>
              <a:t>Livello 5</a:t>
            </a:r>
          </a:p>
          <a:p>
            <a:pPr lvl="1"/>
            <a:r>
              <a:rPr lang="it-IT" noProof="0"/>
              <a:t>Livello 6</a:t>
            </a:r>
          </a:p>
          <a:p>
            <a:pPr lvl="1"/>
            <a:r>
              <a:rPr lang="it-IT" noProof="0"/>
              <a:t>Livello 7</a:t>
            </a:r>
          </a:p>
          <a:p>
            <a:pPr lvl="1"/>
            <a:r>
              <a:rPr lang="it-IT" noProof="0"/>
              <a:t>Livello 8</a:t>
            </a:r>
          </a:p>
          <a:p>
            <a:pPr lvl="1"/>
            <a:r>
              <a:rPr lang="it-IT" noProof="0"/>
              <a:t>Livello 9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it-IT" noProof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Titolo capitolo</a:t>
            </a:r>
          </a:p>
          <a:p>
            <a:pPr lvl="0"/>
            <a:r>
              <a:rPr lang="it-IT" noProof="0"/>
              <a:t>Livello 2</a:t>
            </a:r>
          </a:p>
          <a:p>
            <a:pPr lvl="0"/>
            <a:r>
              <a:rPr lang="it-IT" noProof="0"/>
              <a:t>Livello 3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4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5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6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7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8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9</a:t>
            </a:r>
          </a:p>
        </p:txBody>
      </p:sp>
      <p:sp>
        <p:nvSpPr>
          <p:cNvPr id="9" name="Symbol zastępczy daty 8">
            <a:extLst>
              <a:ext uri="{FF2B5EF4-FFF2-40B4-BE49-F238E27FC236}">
                <a16:creationId xmlns:a16="http://schemas.microsoft.com/office/drawing/2014/main" id="{7EC46B94-0D08-4CE0-B22F-D813B47C932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it-IT" noProof="0"/>
              <a:t>X mese 202X</a:t>
            </a:r>
          </a:p>
        </p:txBody>
      </p:sp>
      <p:sp>
        <p:nvSpPr>
          <p:cNvPr id="11" name="Symbol zastępczy stopki 10">
            <a:extLst>
              <a:ext uri="{FF2B5EF4-FFF2-40B4-BE49-F238E27FC236}">
                <a16:creationId xmlns:a16="http://schemas.microsoft.com/office/drawing/2014/main" id="{7E5D491C-8758-458C-A681-72200280927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 noProof="0"/>
              <a:t>PowerPoint Master</a:t>
            </a:r>
          </a:p>
        </p:txBody>
      </p:sp>
      <p:sp>
        <p:nvSpPr>
          <p:cNvPr id="15" name="Symbol zastępczy numeru slajdu 14">
            <a:extLst>
              <a:ext uri="{FF2B5EF4-FFF2-40B4-BE49-F238E27FC236}">
                <a16:creationId xmlns:a16="http://schemas.microsoft.com/office/drawing/2014/main" id="{B2750AB2-2DA9-4CAA-8087-9BBAEB9922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CFDFCC3-8B40-4EE5-B231-005F2F1C6A68}" type="slidenum">
              <a:rPr lang="it-IT" noProof="0" smtClean="0"/>
              <a:pPr/>
              <a:t>‹N›</a:t>
            </a:fld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276490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 userDrawn="1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6C32A24-1D2F-41A7-87DA-EE021ABD9D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4627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6C32A24-1D2F-41A7-87DA-EE021ABD9D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864000" marR="0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it-IT" noProof="0"/>
              <a:t>Fare clic per inserire il testo</a:t>
            </a:r>
          </a:p>
          <a:p>
            <a:pPr lvl="1"/>
            <a:r>
              <a:rPr lang="it-IT" noProof="0"/>
              <a:t>Livello 2</a:t>
            </a:r>
          </a:p>
          <a:p>
            <a:pPr lvl="2"/>
            <a:r>
              <a:rPr lang="it-IT" noProof="0"/>
              <a:t>Livello 3 </a:t>
            </a:r>
          </a:p>
          <a:p>
            <a:pPr lvl="3"/>
            <a:r>
              <a:rPr lang="it-IT" noProof="0"/>
              <a:t>Livello 4 </a:t>
            </a:r>
          </a:p>
          <a:p>
            <a:pPr lvl="4"/>
            <a:r>
              <a:rPr lang="it-IT" noProof="0"/>
              <a:t>Livello 5</a:t>
            </a:r>
          </a:p>
          <a:p>
            <a:pPr lvl="5"/>
            <a:r>
              <a:rPr lang="it-IT" noProof="0"/>
              <a:t>Livello 6</a:t>
            </a:r>
          </a:p>
          <a:p>
            <a:pPr lvl="5"/>
            <a:r>
              <a:rPr lang="it-IT" noProof="0"/>
              <a:t>Livello 7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8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9</a:t>
            </a:r>
          </a:p>
          <a:p>
            <a:endParaRPr lang="it-IT" noProof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Note a piè pagina/ Fonti</a:t>
            </a:r>
          </a:p>
          <a:p>
            <a:pPr lvl="1"/>
            <a:r>
              <a:rPr lang="it-IT" noProof="0"/>
              <a:t>Livello 2</a:t>
            </a:r>
          </a:p>
          <a:p>
            <a:pPr lvl="1"/>
            <a:r>
              <a:rPr lang="it-IT" noProof="0"/>
              <a:t>Livello 3</a:t>
            </a:r>
          </a:p>
          <a:p>
            <a:pPr lvl="1"/>
            <a:r>
              <a:rPr lang="it-IT" noProof="0"/>
              <a:t>Livello 4</a:t>
            </a:r>
          </a:p>
          <a:p>
            <a:pPr lvl="1"/>
            <a:r>
              <a:rPr lang="it-IT" noProof="0"/>
              <a:t>Livello 5</a:t>
            </a:r>
          </a:p>
          <a:p>
            <a:pPr lvl="1"/>
            <a:r>
              <a:rPr lang="it-IT" noProof="0"/>
              <a:t>Livello 6</a:t>
            </a:r>
          </a:p>
          <a:p>
            <a:pPr lvl="1"/>
            <a:r>
              <a:rPr lang="it-IT" noProof="0"/>
              <a:t>Livello 7</a:t>
            </a:r>
          </a:p>
          <a:p>
            <a:pPr lvl="1"/>
            <a:r>
              <a:rPr lang="it-IT" noProof="0"/>
              <a:t>Livello 8</a:t>
            </a:r>
          </a:p>
          <a:p>
            <a:pPr lvl="1"/>
            <a:r>
              <a:rPr lang="it-IT" noProof="0"/>
              <a:t>Livello 9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it-IT" noProof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Titolo capitolo</a:t>
            </a:r>
          </a:p>
          <a:p>
            <a:pPr lvl="0"/>
            <a:r>
              <a:rPr lang="it-IT" noProof="0"/>
              <a:t>Livello 2</a:t>
            </a:r>
          </a:p>
          <a:p>
            <a:pPr lvl="0"/>
            <a:r>
              <a:rPr lang="it-IT" noProof="0"/>
              <a:t>Livello 3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4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5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6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7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8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9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EF87B94-0E4E-4D4D-90D2-45EA54A6DECB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6312632" y="1557339"/>
            <a:ext cx="5472000" cy="446395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864000" marR="0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it-IT" noProof="0"/>
              <a:t>Fare clic per inserire il testo</a:t>
            </a:r>
          </a:p>
          <a:p>
            <a:pPr lvl="1"/>
            <a:r>
              <a:rPr lang="it-IT" noProof="0"/>
              <a:t>Livello 2</a:t>
            </a:r>
          </a:p>
          <a:p>
            <a:pPr lvl="2"/>
            <a:r>
              <a:rPr lang="it-IT" noProof="0"/>
              <a:t>Livello 3 </a:t>
            </a:r>
          </a:p>
          <a:p>
            <a:pPr lvl="3"/>
            <a:r>
              <a:rPr lang="it-IT" noProof="0"/>
              <a:t>Livello 4 </a:t>
            </a:r>
          </a:p>
          <a:p>
            <a:pPr lvl="4"/>
            <a:r>
              <a:rPr lang="it-IT" noProof="0"/>
              <a:t>Livello 5</a:t>
            </a:r>
          </a:p>
          <a:p>
            <a:pPr lvl="5"/>
            <a:r>
              <a:rPr lang="it-IT" noProof="0"/>
              <a:t>Livello 6</a:t>
            </a:r>
          </a:p>
          <a:p>
            <a:pPr lvl="5"/>
            <a:r>
              <a:rPr lang="it-IT" noProof="0"/>
              <a:t>Livello 7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8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9</a:t>
            </a:r>
          </a:p>
          <a:p>
            <a:endParaRPr lang="it-IT" noProof="0"/>
          </a:p>
        </p:txBody>
      </p:sp>
      <p:sp>
        <p:nvSpPr>
          <p:cNvPr id="11" name="Symbol zastępczy daty 10">
            <a:extLst>
              <a:ext uri="{FF2B5EF4-FFF2-40B4-BE49-F238E27FC236}">
                <a16:creationId xmlns:a16="http://schemas.microsoft.com/office/drawing/2014/main" id="{0C373CB0-8B8A-4362-B863-C95BECC62E2E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it-IT" noProof="0"/>
              <a:t>X mese 202X</a:t>
            </a:r>
          </a:p>
        </p:txBody>
      </p:sp>
      <p:sp>
        <p:nvSpPr>
          <p:cNvPr id="15" name="Symbol zastępczy stopki 14">
            <a:extLst>
              <a:ext uri="{FF2B5EF4-FFF2-40B4-BE49-F238E27FC236}">
                <a16:creationId xmlns:a16="http://schemas.microsoft.com/office/drawing/2014/main" id="{BA1D980C-59AB-43EF-9509-A6F5649B043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it-IT" noProof="0"/>
              <a:t>PowerPoint Master</a:t>
            </a:r>
          </a:p>
        </p:txBody>
      </p:sp>
      <p:sp>
        <p:nvSpPr>
          <p:cNvPr id="16" name="Symbol zastępczy numeru slajdu 15">
            <a:extLst>
              <a:ext uri="{FF2B5EF4-FFF2-40B4-BE49-F238E27FC236}">
                <a16:creationId xmlns:a16="http://schemas.microsoft.com/office/drawing/2014/main" id="{6AD11080-1B0E-49C4-9D36-0DBD7E44AC7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CFDFCC3-8B40-4EE5-B231-005F2F1C6A68}" type="slidenum">
              <a:rPr lang="it-IT" noProof="0" smtClean="0"/>
              <a:pPr/>
              <a:t>‹N›</a:t>
            </a:fld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17556852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818E44A-F63E-4819-AF26-29E2960B67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54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818E44A-F63E-4819-AF26-29E2960B67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6792"/>
            <a:ext cx="3600000" cy="4464075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864000" marR="0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it-IT" noProof="0"/>
              <a:t>Fare clic per inserire il testo</a:t>
            </a:r>
          </a:p>
          <a:p>
            <a:pPr lvl="1"/>
            <a:r>
              <a:rPr lang="it-IT" noProof="0"/>
              <a:t>Livello 2</a:t>
            </a:r>
          </a:p>
          <a:p>
            <a:pPr lvl="2"/>
            <a:r>
              <a:rPr lang="it-IT" noProof="0"/>
              <a:t>Livello 3 </a:t>
            </a:r>
          </a:p>
          <a:p>
            <a:pPr lvl="3"/>
            <a:r>
              <a:rPr lang="it-IT" noProof="0"/>
              <a:t>Livello 4 </a:t>
            </a:r>
          </a:p>
          <a:p>
            <a:pPr lvl="4"/>
            <a:r>
              <a:rPr lang="it-IT" noProof="0"/>
              <a:t>Livello 5</a:t>
            </a:r>
          </a:p>
          <a:p>
            <a:pPr lvl="5"/>
            <a:r>
              <a:rPr lang="it-IT" noProof="0"/>
              <a:t>Livello 6</a:t>
            </a:r>
          </a:p>
          <a:p>
            <a:pPr lvl="5"/>
            <a:r>
              <a:rPr lang="it-IT" noProof="0"/>
              <a:t>Livello 7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8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9</a:t>
            </a:r>
          </a:p>
          <a:p>
            <a:endParaRPr lang="it-IT" noProof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Note a piè pagina/ Fonti</a:t>
            </a:r>
          </a:p>
          <a:p>
            <a:pPr lvl="1"/>
            <a:r>
              <a:rPr lang="it-IT" noProof="0"/>
              <a:t>Livello 2</a:t>
            </a:r>
          </a:p>
          <a:p>
            <a:pPr lvl="1"/>
            <a:r>
              <a:rPr lang="it-IT" noProof="0"/>
              <a:t>Livello 3</a:t>
            </a:r>
          </a:p>
          <a:p>
            <a:pPr lvl="1"/>
            <a:r>
              <a:rPr lang="it-IT" noProof="0"/>
              <a:t>Livello 4</a:t>
            </a:r>
          </a:p>
          <a:p>
            <a:pPr lvl="1"/>
            <a:r>
              <a:rPr lang="it-IT" noProof="0"/>
              <a:t>Livello 5</a:t>
            </a:r>
          </a:p>
          <a:p>
            <a:pPr lvl="1"/>
            <a:r>
              <a:rPr lang="it-IT" noProof="0"/>
              <a:t>Livello 6</a:t>
            </a:r>
          </a:p>
          <a:p>
            <a:pPr lvl="1"/>
            <a:r>
              <a:rPr lang="it-IT" noProof="0"/>
              <a:t>Livello 7</a:t>
            </a:r>
          </a:p>
          <a:p>
            <a:pPr lvl="1"/>
            <a:r>
              <a:rPr lang="it-IT" noProof="0"/>
              <a:t>Livello 8</a:t>
            </a:r>
          </a:p>
          <a:p>
            <a:pPr lvl="1"/>
            <a:r>
              <a:rPr lang="it-IT" noProof="0"/>
              <a:t>Livello 9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it-IT" noProof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Titolo capitolo</a:t>
            </a:r>
          </a:p>
          <a:p>
            <a:pPr lvl="0"/>
            <a:r>
              <a:rPr lang="it-IT" noProof="0"/>
              <a:t>Livello 2</a:t>
            </a:r>
          </a:p>
          <a:p>
            <a:pPr lvl="0"/>
            <a:r>
              <a:rPr lang="it-IT" noProof="0"/>
              <a:t>Livello 3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4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5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6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7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8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9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EF87B94-0E4E-4D4D-90D2-45EA54A6DECB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4295800" y="1557213"/>
            <a:ext cx="3600000" cy="4464075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864000" marR="0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it-IT" noProof="0"/>
              <a:t>Fare clic per inserire il testo</a:t>
            </a:r>
          </a:p>
          <a:p>
            <a:pPr lvl="1"/>
            <a:r>
              <a:rPr lang="it-IT" noProof="0"/>
              <a:t>Livello 2</a:t>
            </a:r>
          </a:p>
          <a:p>
            <a:pPr lvl="2"/>
            <a:r>
              <a:rPr lang="it-IT" noProof="0"/>
              <a:t>Livello 3 </a:t>
            </a:r>
          </a:p>
          <a:p>
            <a:pPr lvl="3"/>
            <a:r>
              <a:rPr lang="it-IT" noProof="0"/>
              <a:t>Livello 4 </a:t>
            </a:r>
          </a:p>
          <a:p>
            <a:pPr lvl="4"/>
            <a:r>
              <a:rPr lang="it-IT" noProof="0"/>
              <a:t>Livello 5</a:t>
            </a:r>
          </a:p>
          <a:p>
            <a:pPr lvl="5"/>
            <a:r>
              <a:rPr lang="it-IT" noProof="0"/>
              <a:t>Livello 6</a:t>
            </a:r>
          </a:p>
          <a:p>
            <a:pPr lvl="5"/>
            <a:r>
              <a:rPr lang="it-IT" noProof="0"/>
              <a:t>Livello 7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8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9</a:t>
            </a:r>
          </a:p>
          <a:p>
            <a:endParaRPr lang="it-IT" noProof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EC89F919-1B13-4706-A895-5230C18E4967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 bwMode="gray">
          <a:xfrm>
            <a:off x="8184632" y="1557338"/>
            <a:ext cx="3600000" cy="4464075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864000" marR="0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it-IT" noProof="0"/>
              <a:t>Fare clic per inserire il testo</a:t>
            </a:r>
          </a:p>
          <a:p>
            <a:pPr lvl="1"/>
            <a:r>
              <a:rPr lang="it-IT" noProof="0"/>
              <a:t>Livello 2</a:t>
            </a:r>
          </a:p>
          <a:p>
            <a:pPr lvl="2"/>
            <a:r>
              <a:rPr lang="it-IT" noProof="0"/>
              <a:t>Livello 3 </a:t>
            </a:r>
          </a:p>
          <a:p>
            <a:pPr lvl="3"/>
            <a:r>
              <a:rPr lang="it-IT" noProof="0"/>
              <a:t>Livello 4 </a:t>
            </a:r>
          </a:p>
          <a:p>
            <a:pPr lvl="4"/>
            <a:r>
              <a:rPr lang="it-IT" noProof="0"/>
              <a:t>Livello 5</a:t>
            </a:r>
          </a:p>
          <a:p>
            <a:pPr lvl="5"/>
            <a:r>
              <a:rPr lang="it-IT" noProof="0"/>
              <a:t>Livello 6</a:t>
            </a:r>
          </a:p>
          <a:p>
            <a:pPr lvl="5"/>
            <a:r>
              <a:rPr lang="it-IT" noProof="0"/>
              <a:t>Livello 7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8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9</a:t>
            </a:r>
          </a:p>
          <a:p>
            <a:endParaRPr lang="it-IT" noProof="0"/>
          </a:p>
        </p:txBody>
      </p:sp>
      <p:sp>
        <p:nvSpPr>
          <p:cNvPr id="15" name="Symbol zastępczy daty 14">
            <a:extLst>
              <a:ext uri="{FF2B5EF4-FFF2-40B4-BE49-F238E27FC236}">
                <a16:creationId xmlns:a16="http://schemas.microsoft.com/office/drawing/2014/main" id="{55D96B04-E234-4014-8FCC-6487952D453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noProof="0"/>
              <a:t>X mese 202X</a:t>
            </a:r>
          </a:p>
        </p:txBody>
      </p:sp>
      <p:sp>
        <p:nvSpPr>
          <p:cNvPr id="16" name="Symbol zastępczy stopki 15">
            <a:extLst>
              <a:ext uri="{FF2B5EF4-FFF2-40B4-BE49-F238E27FC236}">
                <a16:creationId xmlns:a16="http://schemas.microsoft.com/office/drawing/2014/main" id="{BA63FE83-0C55-400A-9C1A-02449CD5555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it-IT" noProof="0"/>
              <a:t>PowerPoint Master</a:t>
            </a:r>
          </a:p>
        </p:txBody>
      </p:sp>
      <p:sp>
        <p:nvSpPr>
          <p:cNvPr id="17" name="Symbol zastępczy numeru slajdu 16">
            <a:extLst>
              <a:ext uri="{FF2B5EF4-FFF2-40B4-BE49-F238E27FC236}">
                <a16:creationId xmlns:a16="http://schemas.microsoft.com/office/drawing/2014/main" id="{28D347F1-B51D-47EF-954D-19F05A85137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CFDFCC3-8B40-4EE5-B231-005F2F1C6A68}" type="slidenum">
              <a:rPr lang="it-IT" noProof="0" smtClean="0"/>
              <a:pPr/>
              <a:t>‹N›</a:t>
            </a:fld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1314124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tenuto e elemento grafico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15C34BC-9550-479A-8EB8-445796C514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4039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15C34BC-9550-479A-8EB8-445796C514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8"/>
            <a:ext cx="5472112" cy="446404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864000" marR="0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it-IT" noProof="0"/>
              <a:t>Fare clic per inserire il testo</a:t>
            </a:r>
          </a:p>
          <a:p>
            <a:pPr lvl="1"/>
            <a:r>
              <a:rPr lang="it-IT" noProof="0"/>
              <a:t>Livello 2</a:t>
            </a:r>
          </a:p>
          <a:p>
            <a:pPr lvl="2"/>
            <a:r>
              <a:rPr lang="it-IT" noProof="0"/>
              <a:t>Livello 3 </a:t>
            </a:r>
          </a:p>
          <a:p>
            <a:pPr lvl="3"/>
            <a:r>
              <a:rPr lang="it-IT" noProof="0"/>
              <a:t>Livello 4 </a:t>
            </a:r>
          </a:p>
          <a:p>
            <a:pPr lvl="4"/>
            <a:r>
              <a:rPr lang="it-IT" noProof="0"/>
              <a:t>Livello 5</a:t>
            </a:r>
          </a:p>
          <a:p>
            <a:pPr lvl="5"/>
            <a:r>
              <a:rPr lang="it-IT" noProof="0"/>
              <a:t>Livello 6</a:t>
            </a:r>
          </a:p>
          <a:p>
            <a:pPr lvl="5"/>
            <a:r>
              <a:rPr lang="it-IT" noProof="0"/>
              <a:t>Livello 7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8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9</a:t>
            </a:r>
          </a:p>
          <a:p>
            <a:endParaRPr lang="it-IT" noProof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9" y="6165328"/>
            <a:ext cx="5472732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Note a piè pagina/ Fonti</a:t>
            </a:r>
          </a:p>
          <a:p>
            <a:pPr lvl="1"/>
            <a:r>
              <a:rPr lang="it-IT" noProof="0"/>
              <a:t>Livello 2</a:t>
            </a:r>
          </a:p>
          <a:p>
            <a:pPr lvl="1"/>
            <a:r>
              <a:rPr lang="it-IT" noProof="0"/>
              <a:t>Livello 3</a:t>
            </a:r>
          </a:p>
          <a:p>
            <a:pPr lvl="1"/>
            <a:r>
              <a:rPr lang="it-IT" noProof="0"/>
              <a:t>Livello 4</a:t>
            </a:r>
          </a:p>
          <a:p>
            <a:pPr lvl="1"/>
            <a:r>
              <a:rPr lang="it-IT" noProof="0"/>
              <a:t>Livello 5</a:t>
            </a:r>
          </a:p>
          <a:p>
            <a:pPr lvl="1"/>
            <a:r>
              <a:rPr lang="it-IT" noProof="0"/>
              <a:t>Livello 6</a:t>
            </a:r>
          </a:p>
          <a:p>
            <a:pPr lvl="1"/>
            <a:r>
              <a:rPr lang="it-IT" noProof="0"/>
              <a:t>Livello 7</a:t>
            </a:r>
          </a:p>
          <a:p>
            <a:pPr lvl="1"/>
            <a:r>
              <a:rPr lang="it-IT" noProof="0"/>
              <a:t>Livello 8</a:t>
            </a:r>
          </a:p>
          <a:p>
            <a:pPr lvl="1"/>
            <a:r>
              <a:rPr lang="it-IT" noProof="0"/>
              <a:t>Livello 9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9" y="740776"/>
            <a:ext cx="5472732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it-IT" noProof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3" y="404696"/>
            <a:ext cx="5471468" cy="288000"/>
          </a:xfrm>
        </p:spPr>
        <p:txBody>
          <a:bodyPr tIns="0" bIns="0" anchor="b" anchorCtr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Titolo capitolo</a:t>
            </a:r>
          </a:p>
          <a:p>
            <a:pPr lvl="0"/>
            <a:r>
              <a:rPr lang="it-IT" noProof="0"/>
              <a:t>Livello 2</a:t>
            </a:r>
          </a:p>
          <a:p>
            <a:pPr lvl="0"/>
            <a:r>
              <a:rPr lang="it-IT" noProof="0"/>
              <a:t>Livello 3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4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5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6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7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8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9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4ECF5D8-597F-433C-8071-7F63B641BBB2}"/>
              </a:ext>
            </a:extLst>
          </p:cNvPr>
          <p:cNvSpPr/>
          <p:nvPr userDrawn="1"/>
        </p:nvSpPr>
        <p:spPr bwMode="gray">
          <a:xfrm>
            <a:off x="6311900" y="0"/>
            <a:ext cx="5880099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89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F4DD610-2368-4729-979C-69C66C382CB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it-IT" noProof="0"/>
              <a:t>X mese 202X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0C5F920-6526-419F-93CD-71241C26F6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 noProof="0"/>
              <a:t>PowerPoint Master</a:t>
            </a:r>
            <a:endParaRPr lang="it-IT" b="0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0ACDA27-4503-41E6-B4EF-5FA9C82CB23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CFDFCC3-8B40-4EE5-B231-005F2F1C6A68}" type="slidenum">
              <a:rPr lang="it-IT" noProof="0" smtClean="0"/>
              <a:pPr/>
              <a:t>‹N›</a:t>
            </a:fld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39699768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to con elemento grafico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3D06834-44FF-4BAC-9D0E-C47BE59757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3448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3D06834-44FF-4BAC-9D0E-C47BE59757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8" y="1557338"/>
            <a:ext cx="7488237" cy="446404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864000" marR="0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it-IT" noProof="0"/>
              <a:t>Fare clic per inserire il testo</a:t>
            </a:r>
          </a:p>
          <a:p>
            <a:pPr lvl="1"/>
            <a:r>
              <a:rPr lang="it-IT" noProof="0"/>
              <a:t>Livello 2</a:t>
            </a:r>
          </a:p>
          <a:p>
            <a:pPr lvl="2"/>
            <a:r>
              <a:rPr lang="it-IT" noProof="0"/>
              <a:t>Livello 3 </a:t>
            </a:r>
          </a:p>
          <a:p>
            <a:pPr lvl="3"/>
            <a:r>
              <a:rPr lang="it-IT" noProof="0"/>
              <a:t>Livello 4 </a:t>
            </a:r>
          </a:p>
          <a:p>
            <a:pPr lvl="4"/>
            <a:r>
              <a:rPr lang="it-IT" noProof="0"/>
              <a:t>Livello 5</a:t>
            </a:r>
          </a:p>
          <a:p>
            <a:pPr lvl="5"/>
            <a:r>
              <a:rPr lang="it-IT" noProof="0"/>
              <a:t>Livello 6</a:t>
            </a:r>
          </a:p>
          <a:p>
            <a:pPr lvl="5"/>
            <a:r>
              <a:rPr lang="it-IT" noProof="0"/>
              <a:t>Livello 7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8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9</a:t>
            </a:r>
          </a:p>
          <a:p>
            <a:endParaRPr lang="it-IT" noProof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7488857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Note a piè pagina/ Fonti</a:t>
            </a:r>
          </a:p>
          <a:p>
            <a:pPr lvl="1"/>
            <a:r>
              <a:rPr lang="it-IT" noProof="0"/>
              <a:t>Livello 2</a:t>
            </a:r>
          </a:p>
          <a:p>
            <a:pPr lvl="1"/>
            <a:r>
              <a:rPr lang="it-IT" noProof="0"/>
              <a:t>Livello 3</a:t>
            </a:r>
          </a:p>
          <a:p>
            <a:pPr lvl="1"/>
            <a:r>
              <a:rPr lang="it-IT" noProof="0"/>
              <a:t>Livello 4</a:t>
            </a:r>
          </a:p>
          <a:p>
            <a:pPr lvl="1"/>
            <a:r>
              <a:rPr lang="it-IT" noProof="0"/>
              <a:t>Livello 5</a:t>
            </a:r>
          </a:p>
          <a:p>
            <a:pPr lvl="1"/>
            <a:r>
              <a:rPr lang="it-IT" noProof="0"/>
              <a:t>Livello 6</a:t>
            </a:r>
          </a:p>
          <a:p>
            <a:pPr lvl="1"/>
            <a:r>
              <a:rPr lang="it-IT" noProof="0"/>
              <a:t>Livello 7</a:t>
            </a:r>
          </a:p>
          <a:p>
            <a:pPr lvl="1"/>
            <a:r>
              <a:rPr lang="it-IT" noProof="0"/>
              <a:t>Livello 8</a:t>
            </a:r>
          </a:p>
          <a:p>
            <a:pPr lvl="1"/>
            <a:r>
              <a:rPr lang="it-IT" noProof="0"/>
              <a:t>Livello 9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7488857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it-IT" noProof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7487593" cy="288000"/>
          </a:xfrm>
        </p:spPr>
        <p:txBody>
          <a:bodyPr tIns="0" bIns="0" anchor="b" anchorCtr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Titolo capitolo</a:t>
            </a:r>
          </a:p>
          <a:p>
            <a:pPr lvl="0"/>
            <a:r>
              <a:rPr lang="it-IT" noProof="0"/>
              <a:t>Livello 2</a:t>
            </a:r>
          </a:p>
          <a:p>
            <a:pPr lvl="0"/>
            <a:r>
              <a:rPr lang="it-IT" noProof="0"/>
              <a:t>Livello 3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4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5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6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7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8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9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4ECF5D8-597F-433C-8071-7F63B641BBB2}"/>
              </a:ext>
            </a:extLst>
          </p:cNvPr>
          <p:cNvSpPr/>
          <p:nvPr userDrawn="1"/>
        </p:nvSpPr>
        <p:spPr bwMode="gray">
          <a:xfrm>
            <a:off x="8183562" y="0"/>
            <a:ext cx="4008437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89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9ECEF76-3969-412F-86F3-1A1BE3534A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it-IT" noProof="0"/>
              <a:t>X mese 202X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68D9AF4-BD8E-4650-A66A-81DB0156315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 noProof="0"/>
              <a:t>PowerPoint Master</a:t>
            </a:r>
            <a:endParaRPr lang="it-IT" b="0" noProof="0"/>
          </a:p>
        </p:txBody>
      </p:sp>
      <p:sp>
        <p:nvSpPr>
          <p:cNvPr id="15" name="Foliennummernplatzhalter 4">
            <a:extLst>
              <a:ext uri="{FF2B5EF4-FFF2-40B4-BE49-F238E27FC236}">
                <a16:creationId xmlns:a16="http://schemas.microsoft.com/office/drawing/2014/main" id="{97DC8CB9-25A8-46A3-BD7C-0371E033FE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24013" y="6525368"/>
            <a:ext cx="360000" cy="21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CFDFCC3-8B40-4EE5-B231-005F2F1C6A68}" type="slidenum">
              <a:rPr lang="it-IT" noProof="0" smtClean="0"/>
              <a:pPr/>
              <a:t>‹N›</a:t>
            </a:fld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1929644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9889991-D7C3-47DC-A0E7-496256CBD9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4762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9889991-D7C3-47DC-A0E7-496256CBD9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it-IT" noProof="0"/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Titolo capitolo</a:t>
            </a:r>
          </a:p>
          <a:p>
            <a:pPr lvl="0"/>
            <a:r>
              <a:rPr lang="it-IT" noProof="0"/>
              <a:t>Livello 2</a:t>
            </a:r>
          </a:p>
          <a:p>
            <a:pPr lvl="0"/>
            <a:r>
              <a:rPr lang="it-IT" noProof="0"/>
              <a:t>Livello 3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4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5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6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7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8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9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773FAEC6-8B23-4327-9DFE-B48C2DF8AA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Note a piè pagina/ Fonti</a:t>
            </a:r>
          </a:p>
          <a:p>
            <a:pPr lvl="1"/>
            <a:r>
              <a:rPr lang="it-IT" noProof="0"/>
              <a:t>Livello 2</a:t>
            </a:r>
          </a:p>
          <a:p>
            <a:pPr lvl="1"/>
            <a:r>
              <a:rPr lang="it-IT" noProof="0"/>
              <a:t>Livello 3</a:t>
            </a:r>
          </a:p>
          <a:p>
            <a:pPr lvl="1"/>
            <a:r>
              <a:rPr lang="it-IT" noProof="0"/>
              <a:t>Livello 4</a:t>
            </a:r>
          </a:p>
          <a:p>
            <a:pPr lvl="1"/>
            <a:r>
              <a:rPr lang="it-IT" noProof="0"/>
              <a:t>Livello 5</a:t>
            </a:r>
          </a:p>
          <a:p>
            <a:pPr lvl="1"/>
            <a:r>
              <a:rPr lang="it-IT" noProof="0"/>
              <a:t>Livello 6</a:t>
            </a:r>
          </a:p>
          <a:p>
            <a:pPr lvl="1"/>
            <a:r>
              <a:rPr lang="it-IT" noProof="0"/>
              <a:t>Livello 7</a:t>
            </a:r>
          </a:p>
          <a:p>
            <a:pPr lvl="1"/>
            <a:r>
              <a:rPr lang="it-IT" noProof="0"/>
              <a:t>Livello 8</a:t>
            </a:r>
          </a:p>
          <a:p>
            <a:pPr lvl="1"/>
            <a:r>
              <a:rPr lang="it-IT" noProof="0"/>
              <a:t>Livello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E8BE66F-899A-4EEE-8357-5D8804E5B6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it-IT" noProof="0"/>
              <a:t>X mese 202X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019722D-98AB-4C04-B345-FEA8A37D754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 noProof="0"/>
              <a:t>PowerPoint Master</a:t>
            </a:r>
            <a:endParaRPr lang="it-IT" b="0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78EDF34-D83F-47D7-90B2-2FBAB1018D7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it-IT" noProof="0" smtClean="0"/>
              <a:pPr algn="r"/>
              <a:t>‹N›</a:t>
            </a:fld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2538990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 userDrawn="1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ridot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11E6238-6B3F-42F9-B0C2-E51B74CFD7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4514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11E6238-6B3F-42F9-B0C2-E51B74CFD7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Note a piè pagina/ Fonti</a:t>
            </a:r>
          </a:p>
          <a:p>
            <a:pPr lvl="1"/>
            <a:r>
              <a:rPr lang="it-IT" noProof="0"/>
              <a:t>Livello 2</a:t>
            </a:r>
          </a:p>
          <a:p>
            <a:pPr lvl="1"/>
            <a:r>
              <a:rPr lang="it-IT" noProof="0"/>
              <a:t>Livello 3</a:t>
            </a:r>
          </a:p>
          <a:p>
            <a:pPr lvl="1"/>
            <a:r>
              <a:rPr lang="it-IT" noProof="0"/>
              <a:t>Livello 4</a:t>
            </a:r>
          </a:p>
          <a:p>
            <a:pPr lvl="1"/>
            <a:r>
              <a:rPr lang="it-IT" noProof="0"/>
              <a:t>Livello 5</a:t>
            </a:r>
          </a:p>
          <a:p>
            <a:pPr lvl="1"/>
            <a:r>
              <a:rPr lang="it-IT" noProof="0"/>
              <a:t>Livello 6</a:t>
            </a:r>
          </a:p>
          <a:p>
            <a:pPr lvl="1"/>
            <a:r>
              <a:rPr lang="it-IT" noProof="0"/>
              <a:t>Livello 7</a:t>
            </a:r>
          </a:p>
          <a:p>
            <a:pPr lvl="1"/>
            <a:r>
              <a:rPr lang="it-IT" noProof="0"/>
              <a:t>Livello 8</a:t>
            </a:r>
          </a:p>
          <a:p>
            <a:pPr lvl="1"/>
            <a:r>
              <a:rPr lang="it-IT" noProof="0"/>
              <a:t>Livello 9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8" y="116632"/>
            <a:ext cx="11376000" cy="2883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800">
                <a:solidFill>
                  <a:schemeClr val="tx1"/>
                </a:solidFill>
              </a:defRPr>
            </a:lvl1pPr>
          </a:lstStyle>
          <a:p>
            <a:r>
              <a:rPr lang="it-IT" noProof="0"/>
              <a:t>Da utilizzare solo per grandi tabell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FF5A8C7-FE4D-4452-9E15-4B91B266A0E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it-IT" noProof="0"/>
              <a:t>X mese 202X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E7A1D4A-1311-426B-A2A9-64E1F7FE37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it-IT" noProof="0"/>
              <a:t>PowerPoint Master</a:t>
            </a:r>
            <a:endParaRPr lang="it-IT" b="0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6ED5A52-36B6-4A34-9598-8ADDB9923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it-IT" noProof="0" smtClean="0"/>
              <a:pPr algn="r"/>
              <a:t>‹N›</a:t>
            </a:fld>
            <a:endParaRPr lang="it-IT" noProof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71EB2444-B66C-4C40-A38B-0D92751C70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7" y="477000"/>
            <a:ext cx="11376025" cy="432000"/>
          </a:xfrm>
        </p:spPr>
        <p:txBody>
          <a:bodyPr/>
          <a:lstStyle>
            <a:lvl1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5pPr>
            <a:lvl6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6pPr>
            <a:lvl7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7pPr>
            <a:lvl8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8pPr>
            <a:lvl9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it-IT" noProof="0"/>
              <a:t>che risulterebbero poco leggibili utilizzando gli altri layout.</a:t>
            </a:r>
          </a:p>
          <a:p>
            <a:pPr lvl="1"/>
            <a:r>
              <a:rPr lang="it-IT" noProof="0"/>
              <a:t>Livello 2</a:t>
            </a:r>
          </a:p>
          <a:p>
            <a:pPr lvl="2"/>
            <a:r>
              <a:rPr lang="it-IT" noProof="0"/>
              <a:t>Livello 3</a:t>
            </a:r>
          </a:p>
          <a:p>
            <a:pPr lvl="2"/>
            <a:r>
              <a:rPr lang="it-IT" noProof="0"/>
              <a:t>Livello 4</a:t>
            </a:r>
          </a:p>
          <a:p>
            <a:pPr lvl="2"/>
            <a:r>
              <a:rPr lang="it-IT" noProof="0"/>
              <a:t>Livello 5</a:t>
            </a:r>
          </a:p>
          <a:p>
            <a:pPr lvl="2"/>
            <a:r>
              <a:rPr lang="it-IT" noProof="0"/>
              <a:t>Livello 6</a:t>
            </a:r>
          </a:p>
          <a:p>
            <a:pPr lvl="2"/>
            <a:r>
              <a:rPr lang="it-IT" noProof="0"/>
              <a:t>Livello 7</a:t>
            </a:r>
          </a:p>
          <a:p>
            <a:pPr lvl="2"/>
            <a:r>
              <a:rPr lang="it-IT" noProof="0"/>
              <a:t>Livello 8</a:t>
            </a:r>
          </a:p>
          <a:p>
            <a:pPr lvl="2"/>
            <a:r>
              <a:rPr lang="it-IT" noProof="0"/>
              <a:t>Livello 9</a:t>
            </a:r>
          </a:p>
        </p:txBody>
      </p:sp>
    </p:spTree>
    <p:extLst>
      <p:ext uri="{BB962C8B-B14F-4D97-AF65-F5344CB8AC3E}">
        <p14:creationId xmlns:p14="http://schemas.microsoft.com/office/powerpoint/2010/main" val="1868607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 userDrawn="1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magine su tutta l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62EF2F3-AE5D-4BD1-B244-0252E5F562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0" y="0"/>
            <a:ext cx="12191999" cy="6857999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46962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ti e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916A45A-EC1B-4CC7-A5E6-073835D9E6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677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916A45A-EC1B-4CC7-A5E6-073835D9E6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312024" y="0"/>
            <a:ext cx="5879975" cy="6857999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it-IT" noProof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 marL="864000" marR="0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it-IT" noProof="0"/>
              <a:t>Fare clic per inserire il testo</a:t>
            </a:r>
          </a:p>
          <a:p>
            <a:pPr lvl="1"/>
            <a:r>
              <a:rPr lang="it-IT" noProof="0"/>
              <a:t>Livello 2</a:t>
            </a:r>
          </a:p>
          <a:p>
            <a:pPr lvl="2"/>
            <a:r>
              <a:rPr lang="it-IT" noProof="0"/>
              <a:t>Livello 3 </a:t>
            </a:r>
          </a:p>
          <a:p>
            <a:pPr lvl="3"/>
            <a:r>
              <a:rPr lang="it-IT" noProof="0"/>
              <a:t>Livello 4 </a:t>
            </a:r>
          </a:p>
          <a:p>
            <a:pPr lvl="4"/>
            <a:r>
              <a:rPr lang="it-IT" noProof="0"/>
              <a:t>Livello 5</a:t>
            </a:r>
          </a:p>
          <a:p>
            <a:pPr lvl="5"/>
            <a:r>
              <a:rPr lang="it-IT" noProof="0"/>
              <a:t>Livello 6</a:t>
            </a:r>
          </a:p>
          <a:p>
            <a:pPr lvl="5"/>
            <a:r>
              <a:rPr lang="it-IT" noProof="0"/>
              <a:t>Livello 7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8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9</a:t>
            </a:r>
          </a:p>
          <a:p>
            <a:endParaRPr lang="it-IT" noProof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5472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Note a piè pagina/ Fonti</a:t>
            </a:r>
          </a:p>
          <a:p>
            <a:pPr lvl="1"/>
            <a:r>
              <a:rPr lang="it-IT" noProof="0"/>
              <a:t>Livello 2</a:t>
            </a:r>
          </a:p>
          <a:p>
            <a:pPr lvl="1"/>
            <a:r>
              <a:rPr lang="it-IT" noProof="0"/>
              <a:t>Livello 3</a:t>
            </a:r>
          </a:p>
          <a:p>
            <a:pPr lvl="1"/>
            <a:r>
              <a:rPr lang="it-IT" noProof="0"/>
              <a:t>Livello 4</a:t>
            </a:r>
          </a:p>
          <a:p>
            <a:pPr lvl="1"/>
            <a:r>
              <a:rPr lang="it-IT" noProof="0"/>
              <a:t>Livello 5</a:t>
            </a:r>
          </a:p>
          <a:p>
            <a:pPr lvl="1"/>
            <a:r>
              <a:rPr lang="it-IT" noProof="0"/>
              <a:t>Livello 6</a:t>
            </a:r>
          </a:p>
          <a:p>
            <a:pPr lvl="1"/>
            <a:r>
              <a:rPr lang="it-IT" noProof="0"/>
              <a:t>Livello 7</a:t>
            </a:r>
          </a:p>
          <a:p>
            <a:pPr lvl="1"/>
            <a:r>
              <a:rPr lang="it-IT" noProof="0"/>
              <a:t>Livello 8</a:t>
            </a:r>
          </a:p>
          <a:p>
            <a:pPr lvl="1"/>
            <a:r>
              <a:rPr lang="it-IT" noProof="0"/>
              <a:t>Livello 9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5472732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it-IT" noProof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5472000" cy="288000"/>
          </a:xfrm>
        </p:spPr>
        <p:txBody>
          <a:bodyPr tIns="0" bIns="0" anchor="b" anchorCtr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Titolo capitolo</a:t>
            </a:r>
          </a:p>
          <a:p>
            <a:pPr lvl="0"/>
            <a:r>
              <a:rPr lang="it-IT" noProof="0"/>
              <a:t>Livello 2</a:t>
            </a:r>
          </a:p>
          <a:p>
            <a:pPr lvl="0"/>
            <a:r>
              <a:rPr lang="it-IT" noProof="0"/>
              <a:t>Livello 3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4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5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6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7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8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9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8BDF05-DA9C-4140-BBCE-A540250E509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it-IT" noProof="0"/>
              <a:t>X mese 202X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1713DA2-6385-4731-9857-4EA4ABB202D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 noProof="0"/>
              <a:t>PowerPoint Master</a:t>
            </a:r>
            <a:endParaRPr lang="it-IT" b="0" noProof="0"/>
          </a:p>
        </p:txBody>
      </p:sp>
    </p:spTree>
    <p:extLst>
      <p:ext uri="{BB962C8B-B14F-4D97-AF65-F5344CB8AC3E}">
        <p14:creationId xmlns:p14="http://schemas.microsoft.com/office/powerpoint/2010/main" val="2273699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olo (versione per stamp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iekt 5" hidden="1">
            <a:extLst>
              <a:ext uri="{FF2B5EF4-FFF2-40B4-BE49-F238E27FC236}">
                <a16:creationId xmlns:a16="http://schemas.microsoft.com/office/drawing/2014/main" id="{4A7B0D83-8E0C-4C18-A552-73CED6AF29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764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6" name="Obiekt 5" hidden="1">
                        <a:extLst>
                          <a:ext uri="{FF2B5EF4-FFF2-40B4-BE49-F238E27FC236}">
                            <a16:creationId xmlns:a16="http://schemas.microsoft.com/office/drawing/2014/main" id="{4A7B0D83-8E0C-4C18-A552-73CED6AF29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343472" y="1557339"/>
            <a:ext cx="8856000" cy="1655478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-IT" noProof="0"/>
              <a:t>Titolo presentazione</a:t>
            </a:r>
            <a:br>
              <a:rPr lang="it-IT" noProof="0"/>
            </a:br>
            <a:r>
              <a:rPr lang="it-IT" noProof="0"/>
              <a:t>(in 1-2 righe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348005" y="3357152"/>
            <a:ext cx="8856000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it-IT" noProof="0"/>
              <a:t>Sottotitolo della presentazione</a:t>
            </a:r>
            <a:br>
              <a:rPr lang="it-IT" noProof="0"/>
            </a:br>
            <a:r>
              <a:rPr lang="it-IT" noProof="0"/>
              <a:t>(in 1-2 righe)</a:t>
            </a:r>
          </a:p>
          <a:p>
            <a:pPr lvl="1"/>
            <a:r>
              <a:rPr lang="it-IT" noProof="0"/>
              <a:t>Livello 2</a:t>
            </a:r>
          </a:p>
          <a:p>
            <a:pPr lvl="1"/>
            <a:r>
              <a:rPr lang="it-IT" noProof="0"/>
              <a:t>Livello 3</a:t>
            </a:r>
          </a:p>
          <a:p>
            <a:pPr lvl="1"/>
            <a:r>
              <a:rPr lang="it-IT" noProof="0"/>
              <a:t>Livello 4</a:t>
            </a:r>
          </a:p>
          <a:p>
            <a:pPr lvl="1"/>
            <a:r>
              <a:rPr lang="it-IT" noProof="0"/>
              <a:t>Livello 5</a:t>
            </a:r>
          </a:p>
          <a:p>
            <a:pPr lvl="1"/>
            <a:r>
              <a:rPr lang="it-IT" noProof="0"/>
              <a:t>Livello 6</a:t>
            </a:r>
          </a:p>
          <a:p>
            <a:pPr lvl="1"/>
            <a:r>
              <a:rPr lang="it-IT" noProof="0"/>
              <a:t>Livello 7</a:t>
            </a:r>
          </a:p>
          <a:p>
            <a:pPr lvl="1"/>
            <a:r>
              <a:rPr lang="it-IT" noProof="0"/>
              <a:t>Livello 8</a:t>
            </a:r>
          </a:p>
          <a:p>
            <a:pPr lvl="1"/>
            <a:r>
              <a:rPr lang="it-IT" noProof="0"/>
              <a:t>Livello 9</a:t>
            </a:r>
          </a:p>
        </p:txBody>
      </p:sp>
      <p:sp>
        <p:nvSpPr>
          <p:cNvPr id="50" name="Textplatzhalter 9">
            <a:extLst>
              <a:ext uri="{FF2B5EF4-FFF2-40B4-BE49-F238E27FC236}">
                <a16:creationId xmlns:a16="http://schemas.microsoft.com/office/drawing/2014/main" id="{3656EE1D-B61E-47A5-9B5C-F55BD7EAF9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43472" y="5733296"/>
            <a:ext cx="6912018" cy="36000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Luogo, X mese, xxxx</a:t>
            </a:r>
          </a:p>
          <a:p>
            <a:pPr lvl="1"/>
            <a:r>
              <a:rPr lang="it-IT" noProof="0"/>
              <a:t>Livello 2</a:t>
            </a:r>
          </a:p>
          <a:p>
            <a:pPr lvl="1"/>
            <a:r>
              <a:rPr lang="it-IT" noProof="0"/>
              <a:t>Livello 3</a:t>
            </a:r>
          </a:p>
          <a:p>
            <a:pPr lvl="1"/>
            <a:r>
              <a:rPr lang="it-IT" noProof="0"/>
              <a:t>Livello 4</a:t>
            </a:r>
          </a:p>
          <a:p>
            <a:pPr lvl="1"/>
            <a:r>
              <a:rPr lang="it-IT" noProof="0"/>
              <a:t>Livello 5</a:t>
            </a:r>
          </a:p>
          <a:p>
            <a:pPr lvl="1"/>
            <a:r>
              <a:rPr lang="it-IT" noProof="0"/>
              <a:t>Livello 6</a:t>
            </a:r>
          </a:p>
          <a:p>
            <a:pPr lvl="1"/>
            <a:r>
              <a:rPr lang="it-IT" noProof="0"/>
              <a:t>Livello 7</a:t>
            </a:r>
          </a:p>
          <a:p>
            <a:pPr lvl="1"/>
            <a:r>
              <a:rPr lang="it-IT" noProof="0"/>
              <a:t>Livello 8</a:t>
            </a:r>
          </a:p>
          <a:p>
            <a:pPr lvl="1"/>
            <a:r>
              <a:rPr lang="it-IT" noProof="0"/>
              <a:t>Livello 9</a:t>
            </a:r>
          </a:p>
        </p:txBody>
      </p:sp>
      <p:pic>
        <p:nvPicPr>
          <p:cNvPr id="8" name="Immagine 7" descr="Immagine che contiene testo&#10;&#10;Descrizione generata automaticamente">
            <a:extLst>
              <a:ext uri="{FF2B5EF4-FFF2-40B4-BE49-F238E27FC236}">
                <a16:creationId xmlns:a16="http://schemas.microsoft.com/office/drawing/2014/main" id="{91B2E4EA-D84E-4F4F-A178-619BD570B29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8751" y="5506358"/>
            <a:ext cx="1013874" cy="101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1141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ti e 2 immagi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iekt 7" hidden="1">
            <a:extLst>
              <a:ext uri="{FF2B5EF4-FFF2-40B4-BE49-F238E27FC236}">
                <a16:creationId xmlns:a16="http://schemas.microsoft.com/office/drawing/2014/main" id="{01794039-6EE9-42EA-AEBC-3793E6922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2098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8" name="Obiekt 7" hidden="1">
                        <a:extLst>
                          <a:ext uri="{FF2B5EF4-FFF2-40B4-BE49-F238E27FC236}">
                            <a16:creationId xmlns:a16="http://schemas.microsoft.com/office/drawing/2014/main" id="{01794039-6EE9-42EA-AEBC-3793E6922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72EA302A-73E1-4E4F-B4BD-5AB867F331A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312025" y="3429000"/>
            <a:ext cx="5879975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it-IT" noProof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 marL="864000" marR="0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it-IT" noProof="0"/>
              <a:t>Fare clic per inserire il testo</a:t>
            </a:r>
          </a:p>
          <a:p>
            <a:pPr lvl="1"/>
            <a:r>
              <a:rPr lang="it-IT" noProof="0"/>
              <a:t>Livello 2</a:t>
            </a:r>
          </a:p>
          <a:p>
            <a:pPr lvl="2"/>
            <a:r>
              <a:rPr lang="it-IT" noProof="0"/>
              <a:t>Livello 3 </a:t>
            </a:r>
          </a:p>
          <a:p>
            <a:pPr lvl="3"/>
            <a:r>
              <a:rPr lang="it-IT" noProof="0"/>
              <a:t>Livello 4 </a:t>
            </a:r>
          </a:p>
          <a:p>
            <a:pPr lvl="4"/>
            <a:r>
              <a:rPr lang="it-IT" noProof="0"/>
              <a:t>Livello 5</a:t>
            </a:r>
          </a:p>
          <a:p>
            <a:pPr lvl="5"/>
            <a:r>
              <a:rPr lang="it-IT" noProof="0"/>
              <a:t>Livello 6</a:t>
            </a:r>
          </a:p>
          <a:p>
            <a:pPr lvl="5"/>
            <a:r>
              <a:rPr lang="it-IT" noProof="0"/>
              <a:t>Livello 7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8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9</a:t>
            </a:r>
          </a:p>
          <a:p>
            <a:endParaRPr lang="it-IT" noProof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5472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Note a piè pagina/ Fonti</a:t>
            </a:r>
          </a:p>
          <a:p>
            <a:pPr lvl="1"/>
            <a:r>
              <a:rPr lang="it-IT" noProof="0"/>
              <a:t>Livello 2</a:t>
            </a:r>
          </a:p>
          <a:p>
            <a:pPr lvl="1"/>
            <a:r>
              <a:rPr lang="it-IT" noProof="0"/>
              <a:t>Livello 3</a:t>
            </a:r>
          </a:p>
          <a:p>
            <a:pPr lvl="1"/>
            <a:r>
              <a:rPr lang="it-IT" noProof="0"/>
              <a:t>Livello 4</a:t>
            </a:r>
          </a:p>
          <a:p>
            <a:pPr lvl="1"/>
            <a:r>
              <a:rPr lang="it-IT" noProof="0"/>
              <a:t>Livello 5</a:t>
            </a:r>
          </a:p>
          <a:p>
            <a:pPr lvl="1"/>
            <a:r>
              <a:rPr lang="it-IT" noProof="0"/>
              <a:t>Livello 6</a:t>
            </a:r>
          </a:p>
          <a:p>
            <a:pPr lvl="1"/>
            <a:r>
              <a:rPr lang="it-IT" noProof="0"/>
              <a:t>Livello 7</a:t>
            </a:r>
          </a:p>
          <a:p>
            <a:pPr lvl="1"/>
            <a:r>
              <a:rPr lang="it-IT" noProof="0"/>
              <a:t>Livello 8</a:t>
            </a:r>
          </a:p>
          <a:p>
            <a:pPr lvl="1"/>
            <a:r>
              <a:rPr lang="it-IT" noProof="0"/>
              <a:t>Livello 9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5472732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it-IT" noProof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5472000" cy="288000"/>
          </a:xfrm>
        </p:spPr>
        <p:txBody>
          <a:bodyPr tIns="0" bIns="0" anchor="b" anchorCtr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Titolo capitolo</a:t>
            </a:r>
          </a:p>
          <a:p>
            <a:pPr lvl="0"/>
            <a:r>
              <a:rPr lang="it-IT" noProof="0"/>
              <a:t>Livello 2</a:t>
            </a:r>
          </a:p>
          <a:p>
            <a:pPr lvl="0"/>
            <a:r>
              <a:rPr lang="it-IT" noProof="0"/>
              <a:t>Livello 3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4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5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6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7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8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9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312024" y="1"/>
            <a:ext cx="5879975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it-IT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29EE2EA-4DD7-4C2A-A348-6510E8D3B8A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it-IT" noProof="0"/>
              <a:t>X mese 202X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2FBC02-8D0A-4411-A701-FB3C646EF58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it-IT" noProof="0"/>
              <a:t>PowerPoint Master</a:t>
            </a:r>
            <a:endParaRPr lang="it-IT" b="0" noProof="0"/>
          </a:p>
        </p:txBody>
      </p:sp>
    </p:spTree>
    <p:extLst>
      <p:ext uri="{BB962C8B-B14F-4D97-AF65-F5344CB8AC3E}">
        <p14:creationId xmlns:p14="http://schemas.microsoft.com/office/powerpoint/2010/main" val="3816982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ti e 3 immagini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iekt 7" hidden="1">
            <a:extLst>
              <a:ext uri="{FF2B5EF4-FFF2-40B4-BE49-F238E27FC236}">
                <a16:creationId xmlns:a16="http://schemas.microsoft.com/office/drawing/2014/main" id="{F5914911-BEE2-4A92-94B8-B86F367898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6272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8" name="Obiekt 7" hidden="1">
                        <a:extLst>
                          <a:ext uri="{FF2B5EF4-FFF2-40B4-BE49-F238E27FC236}">
                            <a16:creationId xmlns:a16="http://schemas.microsoft.com/office/drawing/2014/main" id="{F5914911-BEE2-4A92-94B8-B86F367898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72EA302A-73E1-4E4F-B4BD-5AB867F331A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312025" y="3429000"/>
            <a:ext cx="5879975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it-IT" noProof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 marL="864000" marR="0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it-IT" noProof="0"/>
              <a:t>Fare clic per inserire il testo</a:t>
            </a:r>
          </a:p>
          <a:p>
            <a:pPr lvl="1"/>
            <a:r>
              <a:rPr lang="it-IT" noProof="0"/>
              <a:t>Livello 2</a:t>
            </a:r>
          </a:p>
          <a:p>
            <a:pPr lvl="2"/>
            <a:r>
              <a:rPr lang="it-IT" noProof="0"/>
              <a:t>Livello 3 </a:t>
            </a:r>
          </a:p>
          <a:p>
            <a:pPr lvl="3"/>
            <a:r>
              <a:rPr lang="it-IT" noProof="0"/>
              <a:t>Livello 4 </a:t>
            </a:r>
          </a:p>
          <a:p>
            <a:pPr lvl="4"/>
            <a:r>
              <a:rPr lang="it-IT" noProof="0"/>
              <a:t>Livello 5</a:t>
            </a:r>
          </a:p>
          <a:p>
            <a:pPr lvl="5"/>
            <a:r>
              <a:rPr lang="it-IT" noProof="0"/>
              <a:t>Livello 6</a:t>
            </a:r>
          </a:p>
          <a:p>
            <a:pPr lvl="5"/>
            <a:r>
              <a:rPr lang="it-IT" noProof="0"/>
              <a:t>Livello 7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8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9</a:t>
            </a:r>
          </a:p>
          <a:p>
            <a:endParaRPr lang="it-IT" noProof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5472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Note a piè pagina/ Fonti</a:t>
            </a:r>
          </a:p>
          <a:p>
            <a:pPr lvl="1"/>
            <a:r>
              <a:rPr lang="it-IT" noProof="0"/>
              <a:t>Livello 2</a:t>
            </a:r>
          </a:p>
          <a:p>
            <a:pPr lvl="1"/>
            <a:r>
              <a:rPr lang="it-IT" noProof="0"/>
              <a:t>Livello 3</a:t>
            </a:r>
          </a:p>
          <a:p>
            <a:pPr lvl="1"/>
            <a:r>
              <a:rPr lang="it-IT" noProof="0"/>
              <a:t>Livello 4</a:t>
            </a:r>
          </a:p>
          <a:p>
            <a:pPr lvl="1"/>
            <a:r>
              <a:rPr lang="it-IT" noProof="0"/>
              <a:t>Livello 5</a:t>
            </a:r>
          </a:p>
          <a:p>
            <a:pPr lvl="1"/>
            <a:r>
              <a:rPr lang="it-IT" noProof="0"/>
              <a:t>Livello 6</a:t>
            </a:r>
          </a:p>
          <a:p>
            <a:pPr lvl="1"/>
            <a:r>
              <a:rPr lang="it-IT" noProof="0"/>
              <a:t>Livello 7</a:t>
            </a:r>
          </a:p>
          <a:p>
            <a:pPr lvl="1"/>
            <a:r>
              <a:rPr lang="it-IT" noProof="0"/>
              <a:t>Livello 8</a:t>
            </a:r>
          </a:p>
          <a:p>
            <a:pPr lvl="1"/>
            <a:r>
              <a:rPr lang="it-IT" noProof="0"/>
              <a:t>Livello 9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5472732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it-IT" noProof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5472000" cy="288000"/>
          </a:xfrm>
        </p:spPr>
        <p:txBody>
          <a:bodyPr tIns="0" bIns="0" anchor="b" anchorCtr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Titolo capitolo</a:t>
            </a:r>
          </a:p>
          <a:p>
            <a:pPr lvl="0"/>
            <a:r>
              <a:rPr lang="it-IT" noProof="0"/>
              <a:t>Livello 2</a:t>
            </a:r>
          </a:p>
          <a:p>
            <a:pPr lvl="0"/>
            <a:r>
              <a:rPr lang="it-IT" noProof="0"/>
              <a:t>Livello 3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4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5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6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7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8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9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312024" y="1"/>
            <a:ext cx="3097089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it-IT" noProof="0"/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9FB83DFD-5A5B-4FEC-89F4-CBBAD40D217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9409113" y="0"/>
            <a:ext cx="2782887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it-IT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F206B50-4E0B-490D-B448-6C8D3775A3C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it-IT" noProof="0"/>
              <a:t>X mese 202X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3C64CF2-1E17-4044-91EC-BB51A7581D48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it-IT" noProof="0"/>
              <a:t>PowerPoint Master</a:t>
            </a:r>
            <a:endParaRPr lang="it-IT" b="0" noProof="0"/>
          </a:p>
        </p:txBody>
      </p:sp>
    </p:spTree>
    <p:extLst>
      <p:ext uri="{BB962C8B-B14F-4D97-AF65-F5344CB8AC3E}">
        <p14:creationId xmlns:p14="http://schemas.microsoft.com/office/powerpoint/2010/main" val="2933468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ti e 3 immagini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720CC2A-69E5-4868-B716-9775A7ECA1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567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720CC2A-69E5-4868-B716-9775A7ECA1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1DBD824E-7BD9-42EB-A741-717B9ED9C6A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8183563" y="4590000"/>
            <a:ext cx="4008437" cy="2268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it-IT" noProof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7488236" cy="1296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 marL="864000" marR="0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it-IT" noProof="0"/>
              <a:t>Fare clic per inserire il testo</a:t>
            </a:r>
          </a:p>
          <a:p>
            <a:pPr lvl="1"/>
            <a:r>
              <a:rPr lang="it-IT" noProof="0"/>
              <a:t>Livello 2</a:t>
            </a:r>
          </a:p>
          <a:p>
            <a:pPr lvl="2"/>
            <a:r>
              <a:rPr lang="it-IT" noProof="0"/>
              <a:t>Livello 3 </a:t>
            </a:r>
          </a:p>
          <a:p>
            <a:pPr lvl="3"/>
            <a:r>
              <a:rPr lang="it-IT" noProof="0"/>
              <a:t>Livello 4 </a:t>
            </a:r>
          </a:p>
          <a:p>
            <a:pPr lvl="4"/>
            <a:r>
              <a:rPr lang="it-IT" noProof="0"/>
              <a:t>Livello 5</a:t>
            </a:r>
          </a:p>
          <a:p>
            <a:pPr lvl="5"/>
            <a:r>
              <a:rPr lang="it-IT" noProof="0"/>
              <a:t>Livello 6</a:t>
            </a:r>
          </a:p>
          <a:p>
            <a:pPr lvl="5"/>
            <a:r>
              <a:rPr lang="it-IT" noProof="0"/>
              <a:t>Livello 7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8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9</a:t>
            </a:r>
          </a:p>
          <a:p>
            <a:endParaRPr lang="it-IT" noProof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7" y="6165328"/>
            <a:ext cx="7488857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Note a piè pagina/ Fonti</a:t>
            </a:r>
          </a:p>
          <a:p>
            <a:pPr lvl="1"/>
            <a:r>
              <a:rPr lang="it-IT" noProof="0"/>
              <a:t>Livello 2</a:t>
            </a:r>
          </a:p>
          <a:p>
            <a:pPr lvl="1"/>
            <a:r>
              <a:rPr lang="it-IT" noProof="0"/>
              <a:t>Livello 3</a:t>
            </a:r>
          </a:p>
          <a:p>
            <a:pPr lvl="1"/>
            <a:r>
              <a:rPr lang="it-IT" noProof="0"/>
              <a:t>Livello 4</a:t>
            </a:r>
          </a:p>
          <a:p>
            <a:pPr lvl="1"/>
            <a:r>
              <a:rPr lang="it-IT" noProof="0"/>
              <a:t>Livello 5</a:t>
            </a:r>
          </a:p>
          <a:p>
            <a:pPr lvl="1"/>
            <a:r>
              <a:rPr lang="it-IT" noProof="0"/>
              <a:t>Livello 6</a:t>
            </a:r>
          </a:p>
          <a:p>
            <a:pPr lvl="1"/>
            <a:r>
              <a:rPr lang="it-IT" noProof="0"/>
              <a:t>Livello 7</a:t>
            </a:r>
          </a:p>
          <a:p>
            <a:pPr lvl="1"/>
            <a:r>
              <a:rPr lang="it-IT" noProof="0"/>
              <a:t>Livello 8</a:t>
            </a:r>
          </a:p>
          <a:p>
            <a:pPr lvl="1"/>
            <a:r>
              <a:rPr lang="it-IT" noProof="0"/>
              <a:t>Livello 9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7" y="740776"/>
            <a:ext cx="7488857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it-IT" noProof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1" y="404696"/>
            <a:ext cx="7487593" cy="288000"/>
          </a:xfrm>
        </p:spPr>
        <p:txBody>
          <a:bodyPr tIns="0" bIns="0" anchor="b" anchorCtr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Titolo capitolo</a:t>
            </a:r>
          </a:p>
          <a:p>
            <a:pPr lvl="0"/>
            <a:r>
              <a:rPr lang="it-IT" noProof="0"/>
              <a:t>Livello 2</a:t>
            </a:r>
          </a:p>
          <a:p>
            <a:pPr lvl="0"/>
            <a:r>
              <a:rPr lang="it-IT" noProof="0"/>
              <a:t>Livello 3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4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5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6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7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8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9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8183563" y="0"/>
            <a:ext cx="4008437" cy="2268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it-IT" noProof="0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72EA302A-73E1-4E4F-B4BD-5AB867F331A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8183563" y="2268000"/>
            <a:ext cx="4008437" cy="2322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it-IT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0B50ECE-B0BA-455D-8F30-CE845B849E88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it-IT" noProof="0"/>
              <a:t>X mese 202X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DB6783-981C-4B47-9092-89F09DE80A8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it-IT" noProof="0"/>
              <a:t>PowerPoint Master</a:t>
            </a:r>
            <a:endParaRPr lang="it-IT" b="0" noProof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0C8C35B0-D28C-470A-9370-CD75020BFE3D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 bwMode="gray">
          <a:xfrm>
            <a:off x="407366" y="3140968"/>
            <a:ext cx="7488857" cy="1296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 marL="864000" marR="0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it-IT" noProof="0"/>
              <a:t>Fare clic per inserire il testo</a:t>
            </a:r>
          </a:p>
          <a:p>
            <a:pPr lvl="1"/>
            <a:r>
              <a:rPr lang="it-IT" noProof="0"/>
              <a:t>Livello 2</a:t>
            </a:r>
          </a:p>
          <a:p>
            <a:pPr lvl="2"/>
            <a:r>
              <a:rPr lang="it-IT" noProof="0"/>
              <a:t>Livello 3 </a:t>
            </a:r>
          </a:p>
          <a:p>
            <a:pPr lvl="3"/>
            <a:r>
              <a:rPr lang="it-IT" noProof="0"/>
              <a:t>Livello 4 </a:t>
            </a:r>
          </a:p>
          <a:p>
            <a:pPr lvl="4"/>
            <a:r>
              <a:rPr lang="it-IT" noProof="0"/>
              <a:t>Livello 5</a:t>
            </a:r>
          </a:p>
          <a:p>
            <a:pPr lvl="5"/>
            <a:r>
              <a:rPr lang="it-IT" noProof="0"/>
              <a:t>Livello 6</a:t>
            </a:r>
          </a:p>
          <a:p>
            <a:pPr lvl="5"/>
            <a:r>
              <a:rPr lang="it-IT" noProof="0"/>
              <a:t>Livello 7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8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9</a:t>
            </a:r>
          </a:p>
          <a:p>
            <a:endParaRPr lang="it-IT" noProof="0"/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34C99758-AEB9-4B74-A583-4F20E16B1F20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 bwMode="gray">
          <a:xfrm>
            <a:off x="407367" y="4725144"/>
            <a:ext cx="7488856" cy="165618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 marL="864000" marR="0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it-IT" noProof="0"/>
              <a:t>Fare clic per inserire il testo</a:t>
            </a:r>
          </a:p>
          <a:p>
            <a:pPr lvl="1"/>
            <a:r>
              <a:rPr lang="it-IT" noProof="0"/>
              <a:t>Livello 2</a:t>
            </a:r>
          </a:p>
          <a:p>
            <a:pPr lvl="2"/>
            <a:r>
              <a:rPr lang="it-IT" noProof="0"/>
              <a:t>Livello 3 </a:t>
            </a:r>
          </a:p>
          <a:p>
            <a:pPr lvl="3"/>
            <a:r>
              <a:rPr lang="it-IT" noProof="0"/>
              <a:t>Livello 4 </a:t>
            </a:r>
          </a:p>
          <a:p>
            <a:pPr lvl="4"/>
            <a:r>
              <a:rPr lang="it-IT" noProof="0"/>
              <a:t>Livello 5</a:t>
            </a:r>
          </a:p>
          <a:p>
            <a:pPr lvl="5"/>
            <a:r>
              <a:rPr lang="it-IT" noProof="0"/>
              <a:t>Livello 6</a:t>
            </a:r>
          </a:p>
          <a:p>
            <a:pPr lvl="5"/>
            <a:r>
              <a:rPr lang="it-IT" noProof="0"/>
              <a:t>Livello 7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8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9</a:t>
            </a:r>
          </a:p>
          <a:p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4198944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magini con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60E7720-E200-4DB9-AB42-74BC7931B8F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4296421" y="4077072"/>
            <a:ext cx="3599779" cy="1943668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864000" marR="0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it-IT" noProof="0"/>
              <a:t>Fare clic per inserire il testo</a:t>
            </a:r>
          </a:p>
          <a:p>
            <a:pPr lvl="1"/>
            <a:r>
              <a:rPr lang="it-IT" noProof="0"/>
              <a:t>Livello 2</a:t>
            </a:r>
          </a:p>
          <a:p>
            <a:pPr lvl="2"/>
            <a:r>
              <a:rPr lang="it-IT" noProof="0"/>
              <a:t>Livello 3 </a:t>
            </a:r>
          </a:p>
          <a:p>
            <a:pPr lvl="3"/>
            <a:r>
              <a:rPr lang="it-IT" noProof="0"/>
              <a:t>Livello 4 </a:t>
            </a:r>
          </a:p>
          <a:p>
            <a:pPr lvl="4"/>
            <a:r>
              <a:rPr lang="it-IT" noProof="0"/>
              <a:t>Livello 5</a:t>
            </a:r>
          </a:p>
          <a:p>
            <a:pPr lvl="5"/>
            <a:r>
              <a:rPr lang="it-IT" noProof="0"/>
              <a:t>Livello 6</a:t>
            </a:r>
          </a:p>
          <a:p>
            <a:pPr lvl="5"/>
            <a:r>
              <a:rPr lang="it-IT" noProof="0"/>
              <a:t>Livello 7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8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9</a:t>
            </a:r>
          </a:p>
          <a:p>
            <a:endParaRPr lang="it-IT" noProof="0"/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8D1CB9BA-DB08-442B-BB4B-78414B60D076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 bwMode="gray">
          <a:xfrm>
            <a:off x="8184232" y="4077072"/>
            <a:ext cx="3599779" cy="1943668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864000" marR="0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it-IT" noProof="0"/>
              <a:t>Fare clic per inserire il testo</a:t>
            </a:r>
          </a:p>
          <a:p>
            <a:pPr lvl="1"/>
            <a:r>
              <a:rPr lang="it-IT" noProof="0"/>
              <a:t>Livello 2</a:t>
            </a:r>
          </a:p>
          <a:p>
            <a:pPr lvl="2"/>
            <a:r>
              <a:rPr lang="it-IT" noProof="0"/>
              <a:t>Livello 3 </a:t>
            </a:r>
          </a:p>
          <a:p>
            <a:pPr lvl="3"/>
            <a:r>
              <a:rPr lang="it-IT" noProof="0"/>
              <a:t>Livello 4 </a:t>
            </a:r>
          </a:p>
          <a:p>
            <a:pPr lvl="4"/>
            <a:r>
              <a:rPr lang="it-IT" noProof="0"/>
              <a:t>Livello 5</a:t>
            </a:r>
          </a:p>
          <a:p>
            <a:pPr lvl="5"/>
            <a:r>
              <a:rPr lang="it-IT" noProof="0"/>
              <a:t>Livello 6</a:t>
            </a:r>
          </a:p>
          <a:p>
            <a:pPr lvl="5"/>
            <a:r>
              <a:rPr lang="it-IT" noProof="0"/>
              <a:t>Livello 7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8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9</a:t>
            </a:r>
          </a:p>
          <a:p>
            <a:endParaRPr lang="it-IT" noProof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4077072"/>
            <a:ext cx="3599779" cy="1943668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864000" marR="0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it-IT" noProof="0"/>
              <a:t>Fare clic per inserire il testo</a:t>
            </a:r>
          </a:p>
          <a:p>
            <a:pPr lvl="1"/>
            <a:r>
              <a:rPr lang="it-IT" noProof="0"/>
              <a:t>Livello 2</a:t>
            </a:r>
          </a:p>
          <a:p>
            <a:pPr lvl="2"/>
            <a:r>
              <a:rPr lang="it-IT" noProof="0"/>
              <a:t>Livello 3 </a:t>
            </a:r>
          </a:p>
          <a:p>
            <a:pPr lvl="3"/>
            <a:r>
              <a:rPr lang="it-IT" noProof="0"/>
              <a:t>Livello 4 </a:t>
            </a:r>
          </a:p>
          <a:p>
            <a:pPr lvl="4"/>
            <a:r>
              <a:rPr lang="it-IT" noProof="0"/>
              <a:t>Livello 5</a:t>
            </a:r>
          </a:p>
          <a:p>
            <a:pPr lvl="5"/>
            <a:r>
              <a:rPr lang="it-IT" noProof="0"/>
              <a:t>Livello 6</a:t>
            </a:r>
          </a:p>
          <a:p>
            <a:pPr lvl="5"/>
            <a:r>
              <a:rPr lang="it-IT" noProof="0"/>
              <a:t>Livello 7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8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9</a:t>
            </a:r>
          </a:p>
          <a:p>
            <a:endParaRPr lang="it-IT" noProof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7" y="6165328"/>
            <a:ext cx="11376645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Note a piè pagina/ Fonti</a:t>
            </a:r>
          </a:p>
          <a:p>
            <a:pPr lvl="1"/>
            <a:r>
              <a:rPr lang="it-IT" noProof="0"/>
              <a:t>Livello 2</a:t>
            </a:r>
          </a:p>
          <a:p>
            <a:pPr lvl="1"/>
            <a:r>
              <a:rPr lang="it-IT" noProof="0"/>
              <a:t>Livello 3</a:t>
            </a:r>
          </a:p>
          <a:p>
            <a:pPr lvl="1"/>
            <a:r>
              <a:rPr lang="it-IT" noProof="0"/>
              <a:t>Livello 4</a:t>
            </a:r>
          </a:p>
          <a:p>
            <a:pPr lvl="1"/>
            <a:r>
              <a:rPr lang="it-IT" noProof="0"/>
              <a:t>Livello 5</a:t>
            </a:r>
          </a:p>
          <a:p>
            <a:pPr lvl="1"/>
            <a:r>
              <a:rPr lang="it-IT" noProof="0"/>
              <a:t>Livello 6</a:t>
            </a:r>
          </a:p>
          <a:p>
            <a:pPr lvl="1"/>
            <a:r>
              <a:rPr lang="it-IT" noProof="0"/>
              <a:t>Livello 7</a:t>
            </a:r>
          </a:p>
          <a:p>
            <a:pPr lvl="1"/>
            <a:r>
              <a:rPr lang="it-IT" noProof="0"/>
              <a:t>Livello 8</a:t>
            </a:r>
          </a:p>
          <a:p>
            <a:pPr lvl="1"/>
            <a:r>
              <a:rPr lang="it-IT" noProof="0"/>
              <a:t>Livello 9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7" y="740776"/>
            <a:ext cx="11376645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it-IT" noProof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Titolo capitolo</a:t>
            </a:r>
          </a:p>
          <a:p>
            <a:pPr lvl="0"/>
            <a:r>
              <a:rPr lang="it-IT" noProof="0"/>
              <a:t>Livello 2</a:t>
            </a:r>
          </a:p>
          <a:p>
            <a:pPr lvl="0"/>
            <a:r>
              <a:rPr lang="it-IT" noProof="0"/>
              <a:t>Livello 3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4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5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6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7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8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9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0" y="1557040"/>
            <a:ext cx="4187788" cy="230400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it-IT" noProof="0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AF7A689D-901E-4B0D-900B-83F0EE07FBD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4187785" y="1557040"/>
            <a:ext cx="3816431" cy="230400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it-IT" noProof="0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AE73C007-3BC4-4F4D-B146-DBF572331A7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8004216" y="1557040"/>
            <a:ext cx="4187784" cy="230400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it-IT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38B435-437A-4B44-849D-F23018BA51F4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it-IT" noProof="0"/>
              <a:t>X mese 202X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82B779B-7CC9-436F-94F9-869E854FB96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it-IT" noProof="0"/>
              <a:t>PowerPoint Master</a:t>
            </a:r>
            <a:endParaRPr lang="it-IT" b="0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ACDD30F-F971-47F1-8BD7-CA36DF36C46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it-IT" noProof="0" smtClean="0"/>
              <a:pPr algn="r"/>
              <a:t>‹N›</a:t>
            </a:fld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9472524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  <p15:guide id="3" orient="horz" pos="2432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magini con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9C4CD7F-32FC-4BB4-BA7E-179B0107D6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8696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9C4CD7F-32FC-4BB4-BA7E-179B0107D6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8AAAFE53-B217-4863-83D4-FC060BAB860C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 bwMode="gray">
          <a:xfrm>
            <a:off x="9264632" y="3573564"/>
            <a:ext cx="2520000" cy="24477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864000" marR="0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it-IT" noProof="0"/>
              <a:t>Fare clic per inserire il testo</a:t>
            </a:r>
          </a:p>
          <a:p>
            <a:pPr lvl="1"/>
            <a:r>
              <a:rPr lang="it-IT" noProof="0"/>
              <a:t>Livello 2</a:t>
            </a:r>
          </a:p>
          <a:p>
            <a:pPr lvl="2"/>
            <a:r>
              <a:rPr lang="it-IT" noProof="0"/>
              <a:t>Livello 3 </a:t>
            </a:r>
          </a:p>
          <a:p>
            <a:pPr lvl="3"/>
            <a:r>
              <a:rPr lang="it-IT" noProof="0"/>
              <a:t>Livello 4 </a:t>
            </a:r>
          </a:p>
          <a:p>
            <a:pPr lvl="4"/>
            <a:r>
              <a:rPr lang="it-IT" noProof="0"/>
              <a:t>Livello 5</a:t>
            </a:r>
          </a:p>
          <a:p>
            <a:pPr lvl="5"/>
            <a:r>
              <a:rPr lang="it-IT" noProof="0"/>
              <a:t>Livello 6</a:t>
            </a:r>
          </a:p>
          <a:p>
            <a:pPr lvl="5"/>
            <a:r>
              <a:rPr lang="it-IT" noProof="0"/>
              <a:t>Livello 7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8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9</a:t>
            </a:r>
          </a:p>
          <a:p>
            <a:endParaRPr lang="it-IT" noProof="0"/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60E7720-E200-4DB9-AB42-74BC7931B8F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3359696" y="3573016"/>
            <a:ext cx="2520000" cy="24477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864000" marR="0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it-IT" noProof="0"/>
              <a:t>Fare clic per inserire il testo</a:t>
            </a:r>
          </a:p>
          <a:p>
            <a:pPr lvl="1"/>
            <a:r>
              <a:rPr lang="it-IT" noProof="0"/>
              <a:t>Livello 2</a:t>
            </a:r>
          </a:p>
          <a:p>
            <a:pPr lvl="2"/>
            <a:r>
              <a:rPr lang="it-IT" noProof="0"/>
              <a:t>Livello 3 </a:t>
            </a:r>
          </a:p>
          <a:p>
            <a:pPr lvl="3"/>
            <a:r>
              <a:rPr lang="it-IT" noProof="0"/>
              <a:t>Livello 4 </a:t>
            </a:r>
          </a:p>
          <a:p>
            <a:pPr lvl="4"/>
            <a:r>
              <a:rPr lang="it-IT" noProof="0"/>
              <a:t>Livello 5</a:t>
            </a:r>
          </a:p>
          <a:p>
            <a:pPr lvl="5"/>
            <a:r>
              <a:rPr lang="it-IT" noProof="0"/>
              <a:t>Livello 6</a:t>
            </a:r>
          </a:p>
          <a:p>
            <a:pPr lvl="5"/>
            <a:r>
              <a:rPr lang="it-IT" noProof="0"/>
              <a:t>Livello 7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8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9</a:t>
            </a:r>
          </a:p>
          <a:p>
            <a:endParaRPr lang="it-IT" noProof="0"/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8D1CB9BA-DB08-442B-BB4B-78414B60D076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 bwMode="gray">
          <a:xfrm>
            <a:off x="6312024" y="3573016"/>
            <a:ext cx="2520000" cy="24477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864000" marR="0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it-IT" noProof="0"/>
              <a:t>Fare clic per inserire il testo</a:t>
            </a:r>
          </a:p>
          <a:p>
            <a:pPr lvl="1"/>
            <a:r>
              <a:rPr lang="it-IT" noProof="0"/>
              <a:t>Livello 2</a:t>
            </a:r>
          </a:p>
          <a:p>
            <a:pPr lvl="2"/>
            <a:r>
              <a:rPr lang="it-IT" noProof="0"/>
              <a:t>Livello 3 </a:t>
            </a:r>
          </a:p>
          <a:p>
            <a:pPr lvl="3"/>
            <a:r>
              <a:rPr lang="it-IT" noProof="0"/>
              <a:t>Livello 4 </a:t>
            </a:r>
          </a:p>
          <a:p>
            <a:pPr lvl="4"/>
            <a:r>
              <a:rPr lang="it-IT" noProof="0"/>
              <a:t>Livello 5</a:t>
            </a:r>
          </a:p>
          <a:p>
            <a:pPr lvl="5"/>
            <a:r>
              <a:rPr lang="it-IT" noProof="0"/>
              <a:t>Livello 6</a:t>
            </a:r>
          </a:p>
          <a:p>
            <a:pPr lvl="5"/>
            <a:r>
              <a:rPr lang="it-IT" noProof="0"/>
              <a:t>Livello 7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8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9</a:t>
            </a:r>
          </a:p>
          <a:p>
            <a:endParaRPr lang="it-IT" noProof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3573016"/>
            <a:ext cx="2520000" cy="24477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864000" marR="0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it-IT" noProof="0"/>
              <a:t>Fare clic per inserire il testo</a:t>
            </a:r>
          </a:p>
          <a:p>
            <a:pPr lvl="1"/>
            <a:r>
              <a:rPr lang="it-IT" noProof="0"/>
              <a:t>Livello 2</a:t>
            </a:r>
          </a:p>
          <a:p>
            <a:pPr lvl="2"/>
            <a:r>
              <a:rPr lang="it-IT" noProof="0"/>
              <a:t>Livello 3 </a:t>
            </a:r>
          </a:p>
          <a:p>
            <a:pPr lvl="3"/>
            <a:r>
              <a:rPr lang="it-IT" noProof="0"/>
              <a:t>Livello 4 </a:t>
            </a:r>
          </a:p>
          <a:p>
            <a:pPr lvl="4"/>
            <a:r>
              <a:rPr lang="it-IT" noProof="0"/>
              <a:t>Livello 5</a:t>
            </a:r>
          </a:p>
          <a:p>
            <a:pPr lvl="5"/>
            <a:r>
              <a:rPr lang="it-IT" noProof="0"/>
              <a:t>Livello 6</a:t>
            </a:r>
          </a:p>
          <a:p>
            <a:pPr lvl="5"/>
            <a:r>
              <a:rPr lang="it-IT" noProof="0"/>
              <a:t>Livello 7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8</a:t>
            </a:r>
          </a:p>
          <a:p>
            <a:pPr marL="864000" marR="0" lvl="5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idl Font Pro" panose="02000000000000000000" pitchFamily="2" charset="0"/>
              <a:buChar char="−"/>
              <a:tabLst/>
              <a:defRPr/>
            </a:pPr>
            <a:r>
              <a:rPr lang="it-IT" noProof="0"/>
              <a:t>Livello 9</a:t>
            </a:r>
          </a:p>
          <a:p>
            <a:endParaRPr lang="it-IT" noProof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Note a piè pagina/ Fonti</a:t>
            </a:r>
          </a:p>
          <a:p>
            <a:pPr lvl="1"/>
            <a:r>
              <a:rPr lang="it-IT" noProof="0"/>
              <a:t>Livello 2</a:t>
            </a:r>
          </a:p>
          <a:p>
            <a:pPr lvl="1"/>
            <a:r>
              <a:rPr lang="it-IT" noProof="0"/>
              <a:t>Livello 3</a:t>
            </a:r>
          </a:p>
          <a:p>
            <a:pPr lvl="1"/>
            <a:r>
              <a:rPr lang="it-IT" noProof="0"/>
              <a:t>Livello 4</a:t>
            </a:r>
          </a:p>
          <a:p>
            <a:pPr lvl="1"/>
            <a:r>
              <a:rPr lang="it-IT" noProof="0"/>
              <a:t>Livello 5</a:t>
            </a:r>
          </a:p>
          <a:p>
            <a:pPr lvl="1"/>
            <a:r>
              <a:rPr lang="it-IT" noProof="0"/>
              <a:t>Livello 6</a:t>
            </a:r>
          </a:p>
          <a:p>
            <a:pPr lvl="1"/>
            <a:r>
              <a:rPr lang="it-IT" noProof="0"/>
              <a:t>Livello 7</a:t>
            </a:r>
          </a:p>
          <a:p>
            <a:pPr lvl="1"/>
            <a:r>
              <a:rPr lang="it-IT" noProof="0"/>
              <a:t>Livello 8</a:t>
            </a:r>
          </a:p>
          <a:p>
            <a:pPr lvl="1"/>
            <a:r>
              <a:rPr lang="it-IT" noProof="0"/>
              <a:t>Livello 9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7" y="740776"/>
            <a:ext cx="11376645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it-IT" noProof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Titolo capitolo</a:t>
            </a:r>
          </a:p>
          <a:p>
            <a:pPr lvl="0"/>
            <a:r>
              <a:rPr lang="it-IT" noProof="0"/>
              <a:t>Livello 2</a:t>
            </a:r>
          </a:p>
          <a:p>
            <a:pPr lvl="0"/>
            <a:r>
              <a:rPr lang="it-IT" noProof="0"/>
              <a:t>Livello 3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4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5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6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7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8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9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0" y="1556792"/>
            <a:ext cx="3059995" cy="1800771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it-IT" noProof="0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AF7A689D-901E-4B0D-900B-83F0EE07FBD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59995" y="1556792"/>
            <a:ext cx="3044002" cy="1800771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it-IT" noProof="0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AE73C007-3BC4-4F4D-B146-DBF572331A7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6103997" y="1556792"/>
            <a:ext cx="3044001" cy="1800771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it-IT" noProof="0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C14F9E91-B48F-4001-B73E-2BE94299F49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 bwMode="gray">
          <a:xfrm>
            <a:off x="9147998" y="1556792"/>
            <a:ext cx="3044001" cy="1800771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it-IT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F6E8532-3785-4A2D-875E-90B06880E69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it-IT" noProof="0"/>
              <a:t>X mese 202X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B39C52-5892-44D3-B0AB-C42E46ED39F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it-IT" noProof="0"/>
              <a:t>PowerPoint Master</a:t>
            </a:r>
            <a:endParaRPr lang="it-IT" b="0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D1A2243-D184-476A-B301-7C726E44189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it-IT" noProof="0" smtClean="0"/>
              <a:pPr algn="r"/>
              <a:t>‹N›</a:t>
            </a:fld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608902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  <p15:guide id="3" orient="horz" pos="2115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t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1FAAE8-D7A5-42BB-B27C-AE3FEDB2B0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5612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1FAAE8-D7A5-42BB-B27C-AE3FEDB2B0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>
              <a:lnSpc>
                <a:spcPct val="120000"/>
              </a:lnSpc>
            </a:pPr>
            <a:endParaRPr lang="it-IT" sz="2489" noProof="0"/>
          </a:p>
        </p:txBody>
      </p:sp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843BD60-3C21-4DFB-9315-8E1B14158B5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800" b="1" i="0" baseline="0">
              <a:solidFill>
                <a:schemeClr val="bg1"/>
              </a:solidFill>
              <a:latin typeface="Lidl Font Pro" panose="02000000000000000000" pitchFamily="2" charset="0"/>
              <a:ea typeface="+mj-ea"/>
              <a:cs typeface="+mj-cs"/>
              <a:sym typeface="Lidl Font Pro" panose="02000000000000000000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368" y="489372"/>
            <a:ext cx="8856000" cy="1224136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it-IT" noProof="0"/>
              <a:t>Grazi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DD2EEC3-FC57-45CE-AE1E-E4B35AFF42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72328" y="2852936"/>
            <a:ext cx="4176000" cy="2736304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r>
              <a:rPr lang="it-IT" noProof="0"/>
              <a:t>Nome Cognome</a:t>
            </a:r>
          </a:p>
          <a:p>
            <a:pPr lvl="1"/>
            <a:r>
              <a:rPr lang="it-IT" noProof="0"/>
              <a:t>Livello 2</a:t>
            </a:r>
          </a:p>
          <a:p>
            <a:pPr lvl="1"/>
            <a:r>
              <a:rPr lang="it-IT" noProof="0"/>
              <a:t>Livello 3</a:t>
            </a:r>
          </a:p>
          <a:p>
            <a:pPr lvl="1"/>
            <a:r>
              <a:rPr lang="it-IT" noProof="0"/>
              <a:t>Livello 4</a:t>
            </a:r>
          </a:p>
          <a:p>
            <a:pPr lvl="1"/>
            <a:r>
              <a:rPr lang="it-IT" noProof="0"/>
              <a:t>Livello 5</a:t>
            </a:r>
          </a:p>
          <a:p>
            <a:pPr lvl="1"/>
            <a:r>
              <a:rPr lang="it-IT" noProof="0"/>
              <a:t>Livello 6</a:t>
            </a:r>
          </a:p>
          <a:p>
            <a:pPr lvl="1"/>
            <a:r>
              <a:rPr lang="it-IT" noProof="0"/>
              <a:t>Livello 7</a:t>
            </a:r>
          </a:p>
          <a:p>
            <a:pPr lvl="1"/>
            <a:r>
              <a:rPr lang="it-IT" noProof="0"/>
              <a:t>Livello 8</a:t>
            </a:r>
          </a:p>
          <a:p>
            <a:pPr lvl="1"/>
            <a:r>
              <a:rPr lang="it-IT" noProof="0"/>
              <a:t>Livello 9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368" y="2852936"/>
            <a:ext cx="4176000" cy="2736304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i="0">
                <a:solidFill>
                  <a:schemeClr val="bg1"/>
                </a:solidFill>
                <a:latin typeface="+mj-lt"/>
              </a:defRPr>
            </a:lvl1pPr>
            <a:lvl2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it-IT" noProof="0"/>
              <a:t>Nome Cognome</a:t>
            </a:r>
          </a:p>
          <a:p>
            <a:pPr lvl="1"/>
            <a:r>
              <a:rPr lang="it-IT" noProof="0"/>
              <a:t>Livello 2</a:t>
            </a:r>
          </a:p>
          <a:p>
            <a:pPr lvl="1"/>
            <a:r>
              <a:rPr lang="it-IT" noProof="0"/>
              <a:t>Livello 3</a:t>
            </a:r>
          </a:p>
          <a:p>
            <a:pPr lvl="1"/>
            <a:r>
              <a:rPr lang="it-IT" noProof="0"/>
              <a:t>Livello 4</a:t>
            </a:r>
          </a:p>
          <a:p>
            <a:pPr lvl="1"/>
            <a:r>
              <a:rPr lang="it-IT" noProof="0"/>
              <a:t>Livello 5</a:t>
            </a:r>
          </a:p>
          <a:p>
            <a:pPr lvl="1"/>
            <a:r>
              <a:rPr lang="it-IT" noProof="0"/>
              <a:t>Livello 6</a:t>
            </a:r>
          </a:p>
          <a:p>
            <a:pPr lvl="1"/>
            <a:r>
              <a:rPr lang="it-IT" noProof="0"/>
              <a:t>Livello 7</a:t>
            </a:r>
          </a:p>
          <a:p>
            <a:pPr lvl="1"/>
            <a:r>
              <a:rPr lang="it-IT" noProof="0"/>
              <a:t>Livello 8</a:t>
            </a:r>
          </a:p>
          <a:p>
            <a:pPr lvl="1"/>
            <a:r>
              <a:rPr lang="it-IT" noProof="0"/>
              <a:t>Livello 9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676B4420-30A9-462A-8B6C-EBBDFAED7B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304376" y="5904503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it-IT" noProof="0">
                <a:latin typeface="+mn-lt"/>
              </a:rPr>
              <a:t>Tel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FE0E7FF9-D812-4D7F-8F85-17DEDFD8AB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9416" y="5904503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it-IT" noProof="0">
                <a:latin typeface="+mn-lt"/>
              </a:rPr>
              <a:t>Tel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63625631-77D4-4415-8C98-9A89D4FE65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5904503"/>
            <a:ext cx="252000" cy="252000"/>
          </a:xfrm>
          <a:blipFill>
            <a:blip r:embed="rId6"/>
            <a:stretch>
              <a:fillRect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it-IT" noProof="0"/>
              <a:t> 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278A99C9-A31A-481D-B782-83F10A2E4D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72328" y="5904503"/>
            <a:ext cx="252000" cy="252000"/>
          </a:xfrm>
          <a:blipFill>
            <a:blip r:embed="rId6"/>
            <a:stretch>
              <a:fillRect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it-IT" noProof="0"/>
              <a:t> 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3CEB30A4-05EE-4442-B513-54D1C0A043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368" y="6213031"/>
            <a:ext cx="252000" cy="252000"/>
          </a:xfrm>
          <a:blipFill dpi="0" rotWithShape="1">
            <a:blip r:embed="rId7"/>
            <a:srcRect/>
            <a:stretch>
              <a:fillRect t="15000" b="15000"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it-IT" noProof="0"/>
              <a:t> </a:t>
            </a: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D711923E-2A99-4720-8987-F4B56C5731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72328" y="6213031"/>
            <a:ext cx="252000" cy="252000"/>
          </a:xfrm>
          <a:blipFill dpi="0" rotWithShape="1">
            <a:blip r:embed="rId7"/>
            <a:srcRect/>
            <a:stretch>
              <a:fillRect t="15000" b="15000"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it-IT" noProof="0"/>
              <a:t> 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1B00AA7-4947-4D86-9AB4-F87CC9DEEA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04376" y="6213031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it-IT" noProof="0">
                <a:latin typeface="+mn-lt"/>
              </a:rPr>
              <a:t>E-Mail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741B0BE8-B4D6-42BB-A617-E1D546C16C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9416" y="6213031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it-IT" noProof="0">
                <a:latin typeface="+mn-lt"/>
              </a:rPr>
              <a:t>E-Mail</a:t>
            </a:r>
          </a:p>
        </p:txBody>
      </p:sp>
      <p:pic>
        <p:nvPicPr>
          <p:cNvPr id="20" name="Immagine 19" descr="Immagine che contiene testo&#10;&#10;Descrizione generata automaticamente">
            <a:extLst>
              <a:ext uri="{FF2B5EF4-FFF2-40B4-BE49-F238E27FC236}">
                <a16:creationId xmlns:a16="http://schemas.microsoft.com/office/drawing/2014/main" id="{6C3B005F-3BAD-425F-9B84-BCF7C71E58E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8751" y="5506358"/>
            <a:ext cx="1013874" cy="101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929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tti (versione per stamp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1FAAE8-D7A5-42BB-B27C-AE3FEDB2B0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7490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1FAAE8-D7A5-42BB-B27C-AE3FEDB2B0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843BD60-3C21-4DFB-9315-8E1B14158B5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800" b="1" i="0" baseline="0">
              <a:solidFill>
                <a:schemeClr val="bg1"/>
              </a:solidFill>
              <a:latin typeface="Lidl Font Pro" panose="02000000000000000000" pitchFamily="2" charset="0"/>
              <a:ea typeface="+mj-ea"/>
              <a:cs typeface="+mj-cs"/>
              <a:sym typeface="Lidl Font Pro" panose="02000000000000000000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368" y="489372"/>
            <a:ext cx="8856000" cy="1224136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-IT" noProof="0"/>
              <a:t>Grazi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DD2EEC3-FC57-45CE-AE1E-E4B35AFF42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72328" y="2852936"/>
            <a:ext cx="4176000" cy="2736304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>
                <a:solidFill>
                  <a:schemeClr val="tx1"/>
                </a:solidFill>
              </a:defRPr>
            </a:lvl1pPr>
            <a:lvl2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9pPr>
          </a:lstStyle>
          <a:p>
            <a:r>
              <a:rPr lang="it-IT" noProof="0"/>
              <a:t>Nome Cognome</a:t>
            </a:r>
          </a:p>
          <a:p>
            <a:pPr lvl="1"/>
            <a:r>
              <a:rPr lang="it-IT" noProof="0"/>
              <a:t>Livello 2</a:t>
            </a:r>
          </a:p>
          <a:p>
            <a:pPr lvl="1"/>
            <a:r>
              <a:rPr lang="it-IT" noProof="0"/>
              <a:t>Livello 3</a:t>
            </a:r>
          </a:p>
          <a:p>
            <a:pPr lvl="1"/>
            <a:r>
              <a:rPr lang="it-IT" noProof="0"/>
              <a:t>Livello 4</a:t>
            </a:r>
          </a:p>
          <a:p>
            <a:pPr lvl="1"/>
            <a:r>
              <a:rPr lang="it-IT" noProof="0"/>
              <a:t>Livello 5</a:t>
            </a:r>
          </a:p>
          <a:p>
            <a:pPr lvl="1"/>
            <a:r>
              <a:rPr lang="it-IT" noProof="0"/>
              <a:t>Livello 6</a:t>
            </a:r>
          </a:p>
          <a:p>
            <a:pPr lvl="1"/>
            <a:r>
              <a:rPr lang="it-IT" noProof="0"/>
              <a:t>Livello 7</a:t>
            </a:r>
          </a:p>
          <a:p>
            <a:pPr lvl="1"/>
            <a:r>
              <a:rPr lang="it-IT" noProof="0"/>
              <a:t>Livello 8</a:t>
            </a:r>
          </a:p>
          <a:p>
            <a:pPr lvl="1"/>
            <a:r>
              <a:rPr lang="it-IT" noProof="0"/>
              <a:t>Livello 9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368" y="2852936"/>
            <a:ext cx="4176000" cy="2736304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j-lt"/>
              </a:defRPr>
            </a:lvl1pPr>
            <a:lvl2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it-IT" noProof="0"/>
              <a:t>Nome Cognome</a:t>
            </a:r>
          </a:p>
          <a:p>
            <a:pPr lvl="1"/>
            <a:r>
              <a:rPr lang="it-IT" noProof="0"/>
              <a:t>Livello 2</a:t>
            </a:r>
          </a:p>
          <a:p>
            <a:pPr lvl="1"/>
            <a:r>
              <a:rPr lang="it-IT" noProof="0"/>
              <a:t>Livello 3</a:t>
            </a:r>
          </a:p>
          <a:p>
            <a:pPr lvl="1"/>
            <a:r>
              <a:rPr lang="it-IT" noProof="0"/>
              <a:t>Livello 4</a:t>
            </a:r>
          </a:p>
          <a:p>
            <a:pPr lvl="1"/>
            <a:r>
              <a:rPr lang="it-IT" noProof="0"/>
              <a:t>Livello 5</a:t>
            </a:r>
          </a:p>
          <a:p>
            <a:pPr lvl="1"/>
            <a:r>
              <a:rPr lang="it-IT" noProof="0"/>
              <a:t>Livello 6</a:t>
            </a:r>
          </a:p>
          <a:p>
            <a:pPr lvl="1"/>
            <a:r>
              <a:rPr lang="it-IT" noProof="0"/>
              <a:t>Livello 7</a:t>
            </a:r>
          </a:p>
          <a:p>
            <a:pPr lvl="1"/>
            <a:r>
              <a:rPr lang="it-IT" noProof="0"/>
              <a:t>Livello 8</a:t>
            </a:r>
          </a:p>
          <a:p>
            <a:pPr lvl="1"/>
            <a:r>
              <a:rPr lang="it-IT" noProof="0"/>
              <a:t>Livello 9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676B4420-30A9-462A-8B6C-EBBDFAED7B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304376" y="5904503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it-IT" noProof="0">
                <a:latin typeface="+mn-lt"/>
              </a:rPr>
              <a:t>Tel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FE0E7FF9-D812-4D7F-8F85-17DEDFD8AB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9416" y="5904503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it-IT" noProof="0">
                <a:latin typeface="+mn-lt"/>
              </a:rPr>
              <a:t>Tel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63625631-77D4-4415-8C98-9A89D4FE65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5904503"/>
            <a:ext cx="252000" cy="252000"/>
          </a:xfrm>
          <a:blipFill>
            <a:blip r:embed="rId6"/>
            <a:stretch>
              <a:fillRect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it-IT" noProof="0"/>
              <a:t> 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278A99C9-A31A-481D-B782-83F10A2E4D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72328" y="5904503"/>
            <a:ext cx="252000" cy="252000"/>
          </a:xfrm>
          <a:blipFill>
            <a:blip r:embed="rId6"/>
            <a:stretch>
              <a:fillRect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it-IT" noProof="0"/>
              <a:t> 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3CEB30A4-05EE-4442-B513-54D1C0A043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368" y="6213031"/>
            <a:ext cx="252000" cy="252000"/>
          </a:xfrm>
          <a:blipFill dpi="0" rotWithShape="1">
            <a:blip r:embed="rId7"/>
            <a:srcRect/>
            <a:stretch>
              <a:fillRect t="15000" b="15000"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it-IT" noProof="0"/>
              <a:t> </a:t>
            </a: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D711923E-2A99-4720-8987-F4B56C5731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72328" y="6213031"/>
            <a:ext cx="252000" cy="252000"/>
          </a:xfrm>
          <a:blipFill dpi="0" rotWithShape="1">
            <a:blip r:embed="rId7"/>
            <a:srcRect/>
            <a:stretch>
              <a:fillRect t="15000" b="15000"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it-IT" noProof="0"/>
              <a:t> 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1B00AA7-4947-4D86-9AB4-F87CC9DEEA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04376" y="6213031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it-IT" noProof="0">
                <a:latin typeface="+mn-lt"/>
              </a:rPr>
              <a:t>E-Mail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741B0BE8-B4D6-42BB-A617-E1D546C16C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9416" y="6213031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it-IT" noProof="0">
                <a:latin typeface="+mn-lt"/>
              </a:rPr>
              <a:t>E-Mail</a:t>
            </a:r>
          </a:p>
        </p:txBody>
      </p:sp>
      <p:pic>
        <p:nvPicPr>
          <p:cNvPr id="23" name="Immagine 22" descr="Immagine che contiene testo&#10;&#10;Descrizione generata automaticamente">
            <a:extLst>
              <a:ext uri="{FF2B5EF4-FFF2-40B4-BE49-F238E27FC236}">
                <a16:creationId xmlns:a16="http://schemas.microsoft.com/office/drawing/2014/main" id="{F339A64A-6694-44B4-952C-C921F66E0D2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8751" y="5506358"/>
            <a:ext cx="1013874" cy="101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8796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 chiusu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eck 27">
            <a:extLst>
              <a:ext uri="{FF2B5EF4-FFF2-40B4-BE49-F238E27FC236}">
                <a16:creationId xmlns:a16="http://schemas.microsoft.com/office/drawing/2014/main" id="{CBEC2E3F-C1EA-43E3-80B7-F0D44312486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/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6DBDB75B-078B-6412-3EC0-D7ADC2E45A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27" t="36033" r="18767" b="26634"/>
          <a:stretch/>
        </p:blipFill>
        <p:spPr>
          <a:xfrm>
            <a:off x="3105847" y="1511930"/>
            <a:ext cx="5791574" cy="2980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875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3793" userDrawn="1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 chiusura (versione per stamp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 descr="Immagine che contiene testo, esterni, segnale&#10;&#10;Descrizione generata automaticamente">
            <a:extLst>
              <a:ext uri="{FF2B5EF4-FFF2-40B4-BE49-F238E27FC236}">
                <a16:creationId xmlns:a16="http://schemas.microsoft.com/office/drawing/2014/main" id="{B699E7E4-D200-459D-9321-9DB304FD44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8000" y="2919476"/>
            <a:ext cx="5361905" cy="101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178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3793" userDrawn="1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olo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3356992"/>
            <a:ext cx="12192000" cy="3501008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89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343472" y="4077072"/>
            <a:ext cx="8856000" cy="576000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it-IT" noProof="0"/>
              <a:t>Titolo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328805" y="4725160"/>
            <a:ext cx="8856000" cy="72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it-IT" noProof="0"/>
              <a:t>Eventuale sottotitolo (solo 1 riga)</a:t>
            </a:r>
          </a:p>
          <a:p>
            <a:pPr lvl="8"/>
            <a:r>
              <a:rPr lang="it-IT" noProof="0"/>
              <a:t>Livello 2</a:t>
            </a:r>
          </a:p>
          <a:p>
            <a:pPr lvl="8"/>
            <a:r>
              <a:rPr lang="it-IT" noProof="0"/>
              <a:t>Livello 3</a:t>
            </a:r>
          </a:p>
          <a:p>
            <a:pPr lvl="8"/>
            <a:r>
              <a:rPr lang="it-IT" noProof="0"/>
              <a:t>Livello 4</a:t>
            </a:r>
          </a:p>
          <a:p>
            <a:pPr lvl="8"/>
            <a:r>
              <a:rPr lang="it-IT" noProof="0"/>
              <a:t>Livello 5</a:t>
            </a:r>
          </a:p>
          <a:p>
            <a:pPr lvl="8"/>
            <a:r>
              <a:rPr lang="it-IT" noProof="0"/>
              <a:t>Livello 6</a:t>
            </a:r>
          </a:p>
          <a:p>
            <a:pPr lvl="8"/>
            <a:r>
              <a:rPr lang="it-IT" noProof="0"/>
              <a:t>Livello 7</a:t>
            </a:r>
          </a:p>
          <a:p>
            <a:pPr lvl="8"/>
            <a:r>
              <a:rPr lang="it-IT" noProof="0"/>
              <a:t>Livello 8</a:t>
            </a:r>
          </a:p>
          <a:p>
            <a:pPr lvl="8"/>
            <a:r>
              <a:rPr lang="it-IT" noProof="0"/>
              <a:t>Livello 9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43472" y="2205000"/>
            <a:ext cx="6912018" cy="3888296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Luogo, X mese 202X</a:t>
            </a:r>
          </a:p>
          <a:p>
            <a:pPr lvl="1"/>
            <a:r>
              <a:rPr lang="it-IT" noProof="0"/>
              <a:t>Livello 2</a:t>
            </a:r>
          </a:p>
          <a:p>
            <a:pPr marL="0" marR="0" lvl="1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3</a:t>
            </a:r>
          </a:p>
          <a:p>
            <a:pPr marL="0" marR="0" lvl="1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4</a:t>
            </a:r>
          </a:p>
          <a:p>
            <a:pPr marL="0" marR="0" lvl="1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5</a:t>
            </a:r>
          </a:p>
          <a:p>
            <a:pPr marL="0" marR="0" lvl="1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6</a:t>
            </a:r>
          </a:p>
          <a:p>
            <a:pPr marL="0" marR="0" lvl="1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7</a:t>
            </a:r>
          </a:p>
          <a:p>
            <a:pPr marL="0" marR="0" lvl="1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8</a:t>
            </a:r>
          </a:p>
          <a:p>
            <a:pPr marL="0" marR="0" lvl="1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9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B0476DF1-9CDC-44D7-8634-DE84BA8EDCB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0" y="1"/>
            <a:ext cx="12192000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it-IT" noProof="0"/>
          </a:p>
        </p:txBody>
      </p:sp>
      <p:pic>
        <p:nvPicPr>
          <p:cNvPr id="9" name="Immagine 8" descr="Immagine che contiene testo&#10;&#10;Descrizione generata automaticamente">
            <a:extLst>
              <a:ext uri="{FF2B5EF4-FFF2-40B4-BE49-F238E27FC236}">
                <a16:creationId xmlns:a16="http://schemas.microsoft.com/office/drawing/2014/main" id="{EE053B59-6A08-4EFC-97CE-907ED6E9CD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8751" y="5506358"/>
            <a:ext cx="1013874" cy="101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2884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olo con immagine (versione per stamp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iekt 5" hidden="1">
            <a:extLst>
              <a:ext uri="{FF2B5EF4-FFF2-40B4-BE49-F238E27FC236}">
                <a16:creationId xmlns:a16="http://schemas.microsoft.com/office/drawing/2014/main" id="{0D220DD7-7D89-4F54-9A78-122077A9C1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6648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6" name="Obiekt 5" hidden="1">
                        <a:extLst>
                          <a:ext uri="{FF2B5EF4-FFF2-40B4-BE49-F238E27FC236}">
                            <a16:creationId xmlns:a16="http://schemas.microsoft.com/office/drawing/2014/main" id="{0D220DD7-7D89-4F54-9A78-122077A9C1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343472" y="4077072"/>
            <a:ext cx="8856000" cy="576000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-IT" noProof="0"/>
              <a:t>Titolo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343472" y="4725160"/>
            <a:ext cx="8856000" cy="72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it-IT" noProof="0"/>
              <a:t>Eventuale sottotitolo (solo 1 riga)</a:t>
            </a:r>
          </a:p>
          <a:p>
            <a:pPr lvl="8"/>
            <a:r>
              <a:rPr lang="it-IT" noProof="0"/>
              <a:t>Livello 2</a:t>
            </a:r>
          </a:p>
          <a:p>
            <a:pPr lvl="8"/>
            <a:r>
              <a:rPr lang="it-IT" noProof="0"/>
              <a:t>Livello 3</a:t>
            </a:r>
          </a:p>
          <a:p>
            <a:pPr lvl="8"/>
            <a:r>
              <a:rPr lang="it-IT" noProof="0"/>
              <a:t>Livello 4</a:t>
            </a:r>
          </a:p>
          <a:p>
            <a:pPr lvl="8"/>
            <a:r>
              <a:rPr lang="it-IT" noProof="0"/>
              <a:t>Livello 5</a:t>
            </a:r>
          </a:p>
          <a:p>
            <a:pPr lvl="8"/>
            <a:r>
              <a:rPr lang="it-IT" noProof="0"/>
              <a:t>Livello 6</a:t>
            </a:r>
          </a:p>
          <a:p>
            <a:pPr lvl="8"/>
            <a:r>
              <a:rPr lang="it-IT" noProof="0"/>
              <a:t>Livello 7</a:t>
            </a:r>
          </a:p>
          <a:p>
            <a:pPr lvl="8"/>
            <a:r>
              <a:rPr lang="it-IT" noProof="0"/>
              <a:t>Livello 8</a:t>
            </a:r>
          </a:p>
          <a:p>
            <a:pPr lvl="8"/>
            <a:r>
              <a:rPr lang="it-IT" noProof="0"/>
              <a:t>Livello 9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43472" y="5733296"/>
            <a:ext cx="6912018" cy="36000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Luogo, X mese 202X</a:t>
            </a:r>
          </a:p>
          <a:p>
            <a:pPr lvl="1"/>
            <a:r>
              <a:rPr lang="it-IT" noProof="0"/>
              <a:t>Livello 2</a:t>
            </a:r>
          </a:p>
          <a:p>
            <a:pPr marL="0" marR="0" lvl="1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3</a:t>
            </a:r>
          </a:p>
          <a:p>
            <a:pPr marL="0" marR="0" lvl="1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4</a:t>
            </a:r>
          </a:p>
          <a:p>
            <a:pPr marL="0" marR="0" lvl="1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5</a:t>
            </a:r>
          </a:p>
          <a:p>
            <a:pPr marL="0" marR="0" lvl="1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6</a:t>
            </a:r>
          </a:p>
          <a:p>
            <a:pPr marL="0" marR="0" lvl="1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7</a:t>
            </a:r>
          </a:p>
          <a:p>
            <a:pPr marL="0" marR="0" lvl="1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8</a:t>
            </a:r>
          </a:p>
          <a:p>
            <a:pPr marL="0" marR="0" lvl="1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9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B0476DF1-9CDC-44D7-8634-DE84BA8EDCB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0" y="1"/>
            <a:ext cx="12192000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it-IT" noProof="0"/>
          </a:p>
        </p:txBody>
      </p:sp>
      <p:pic>
        <p:nvPicPr>
          <p:cNvPr id="9" name="Immagine 8" descr="Immagine che contiene testo&#10;&#10;Descrizione generata automaticamente">
            <a:extLst>
              <a:ext uri="{FF2B5EF4-FFF2-40B4-BE49-F238E27FC236}">
                <a16:creationId xmlns:a16="http://schemas.microsoft.com/office/drawing/2014/main" id="{D1465E98-2B1C-459E-BD67-EA78CB01C67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8751" y="5506358"/>
            <a:ext cx="1013874" cy="101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9535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1 colonn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Note a piè pagina/ Fonti</a:t>
            </a:r>
          </a:p>
          <a:p>
            <a:pPr lvl="1"/>
            <a:r>
              <a:rPr lang="it-IT" noProof="0"/>
              <a:t>Livello 2</a:t>
            </a:r>
          </a:p>
          <a:p>
            <a:pPr lvl="1"/>
            <a:r>
              <a:rPr lang="it-IT" noProof="0"/>
              <a:t>Livello 3</a:t>
            </a:r>
          </a:p>
          <a:p>
            <a:pPr lvl="1"/>
            <a:r>
              <a:rPr lang="it-IT" noProof="0"/>
              <a:t>Livello 4</a:t>
            </a:r>
          </a:p>
          <a:p>
            <a:pPr lvl="1"/>
            <a:r>
              <a:rPr lang="it-IT" noProof="0"/>
              <a:t>Livello 5</a:t>
            </a:r>
          </a:p>
          <a:p>
            <a:pPr lvl="1"/>
            <a:r>
              <a:rPr lang="it-IT" noProof="0"/>
              <a:t>Livello 6</a:t>
            </a:r>
          </a:p>
          <a:p>
            <a:pPr lvl="1"/>
            <a:r>
              <a:rPr lang="it-IT" noProof="0"/>
              <a:t>Livello 7</a:t>
            </a:r>
          </a:p>
          <a:p>
            <a:pPr lvl="1"/>
            <a:r>
              <a:rPr lang="it-IT" noProof="0"/>
              <a:t>Livello 8</a:t>
            </a:r>
          </a:p>
          <a:p>
            <a:pPr lvl="1"/>
            <a:r>
              <a:rPr lang="it-IT" noProof="0"/>
              <a:t>Livello 9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 noProof="0"/>
              <a:t>Aggiungi titolo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it-IT" noProof="0"/>
              <a:t>Titolo del capitolo</a:t>
            </a:r>
          </a:p>
          <a:p>
            <a:pPr lvl="0"/>
            <a:r>
              <a:rPr lang="it-IT" noProof="0"/>
              <a:t>Livello 2</a:t>
            </a:r>
          </a:p>
          <a:p>
            <a:pPr lvl="2"/>
            <a:r>
              <a:rPr lang="it-IT" noProof="0"/>
              <a:t>Livello 3</a:t>
            </a:r>
          </a:p>
          <a:p>
            <a:pPr lvl="2"/>
            <a:r>
              <a:rPr lang="it-IT" noProof="0"/>
              <a:t>Livello 4</a:t>
            </a:r>
          </a:p>
          <a:p>
            <a:pPr lvl="2"/>
            <a:r>
              <a:rPr lang="it-IT" noProof="0"/>
              <a:t>Livello 5</a:t>
            </a:r>
          </a:p>
          <a:p>
            <a:pPr lvl="2"/>
            <a:r>
              <a:rPr lang="it-IT" noProof="0"/>
              <a:t>Livello 6</a:t>
            </a:r>
          </a:p>
          <a:p>
            <a:pPr lvl="2"/>
            <a:r>
              <a:rPr lang="it-IT" noProof="0"/>
              <a:t>Livello 7</a:t>
            </a:r>
          </a:p>
          <a:p>
            <a:pPr lvl="2"/>
            <a:r>
              <a:rPr lang="it-IT" noProof="0"/>
              <a:t>Livello 8</a:t>
            </a:r>
          </a:p>
          <a:p>
            <a:pPr lvl="2"/>
            <a:r>
              <a:rPr lang="it-IT" noProof="0"/>
              <a:t>Livello 9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28E39D0B-1C52-4219-A4C5-3BA3C06246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52078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it-IT" noProof="0"/>
              <a:t>00</a:t>
            </a:r>
          </a:p>
        </p:txBody>
      </p:sp>
      <p:sp>
        <p:nvSpPr>
          <p:cNvPr id="15" name="Symbol zastępczy tekstu 2">
            <a:extLst>
              <a:ext uri="{FF2B5EF4-FFF2-40B4-BE49-F238E27FC236}">
                <a16:creationId xmlns:a16="http://schemas.microsoft.com/office/drawing/2014/main" id="{C66FBA54-DA02-4D9A-A991-C7CA2B37F8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6723" y="2312940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it-IT" noProof="0"/>
              <a:t>00</a:t>
            </a:r>
          </a:p>
        </p:txBody>
      </p:sp>
      <p:sp>
        <p:nvSpPr>
          <p:cNvPr id="16" name="Symbol zastępczy tekstu 2">
            <a:extLst>
              <a:ext uri="{FF2B5EF4-FFF2-40B4-BE49-F238E27FC236}">
                <a16:creationId xmlns:a16="http://schemas.microsoft.com/office/drawing/2014/main" id="{3F338573-B2E3-4920-9CC7-DE173BAE7F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7368" y="310502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it-IT" noProof="0"/>
              <a:t>00</a:t>
            </a:r>
          </a:p>
        </p:txBody>
      </p:sp>
      <p:sp>
        <p:nvSpPr>
          <p:cNvPr id="17" name="Symbol zastępczy tekstu 2">
            <a:extLst>
              <a:ext uri="{FF2B5EF4-FFF2-40B4-BE49-F238E27FC236}">
                <a16:creationId xmlns:a16="http://schemas.microsoft.com/office/drawing/2014/main" id="{024A7887-1F28-4B02-A601-318D1D0FBC6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7368" y="3897116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it-IT" noProof="0"/>
              <a:t>00</a:t>
            </a:r>
          </a:p>
        </p:txBody>
      </p:sp>
      <p:sp>
        <p:nvSpPr>
          <p:cNvPr id="18" name="Symbol zastępczy tekstu 2">
            <a:extLst>
              <a:ext uri="{FF2B5EF4-FFF2-40B4-BE49-F238E27FC236}">
                <a16:creationId xmlns:a16="http://schemas.microsoft.com/office/drawing/2014/main" id="{2603ECC3-DCAB-40EC-90CE-A360637028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7368" y="4689204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it-IT" noProof="0"/>
              <a:t>00</a:t>
            </a:r>
          </a:p>
        </p:txBody>
      </p:sp>
      <p:sp>
        <p:nvSpPr>
          <p:cNvPr id="19" name="Symbol zastępczy tekstu 2">
            <a:extLst>
              <a:ext uri="{FF2B5EF4-FFF2-40B4-BE49-F238E27FC236}">
                <a16:creationId xmlns:a16="http://schemas.microsoft.com/office/drawing/2014/main" id="{9CA4ED02-E7A4-4F72-9352-D95AB1314A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7368" y="54812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it-IT" noProof="0"/>
              <a:t>00</a:t>
            </a:r>
          </a:p>
        </p:txBody>
      </p:sp>
      <p:sp>
        <p:nvSpPr>
          <p:cNvPr id="20" name="Symbol zastępczy tekstu 2">
            <a:extLst>
              <a:ext uri="{FF2B5EF4-FFF2-40B4-BE49-F238E27FC236}">
                <a16:creationId xmlns:a16="http://schemas.microsoft.com/office/drawing/2014/main" id="{30E3E7CD-8D3B-4518-82EB-DBA4D20F41C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6085" y="1520788"/>
            <a:ext cx="10728000" cy="576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Fare clic per inserire il testo</a:t>
            </a:r>
          </a:p>
        </p:txBody>
      </p:sp>
      <p:sp>
        <p:nvSpPr>
          <p:cNvPr id="21" name="Symbol zastępczy tekstu 2">
            <a:extLst>
              <a:ext uri="{FF2B5EF4-FFF2-40B4-BE49-F238E27FC236}">
                <a16:creationId xmlns:a16="http://schemas.microsoft.com/office/drawing/2014/main" id="{BB058CB8-845E-4715-901A-A96D17FAC8E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5440" y="2312940"/>
            <a:ext cx="10728000" cy="576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Fare clic per inserire il testo</a:t>
            </a:r>
          </a:p>
        </p:txBody>
      </p:sp>
      <p:sp>
        <p:nvSpPr>
          <p:cNvPr id="22" name="Symbol zastępczy tekstu 2">
            <a:extLst>
              <a:ext uri="{FF2B5EF4-FFF2-40B4-BE49-F238E27FC236}">
                <a16:creationId xmlns:a16="http://schemas.microsoft.com/office/drawing/2014/main" id="{31E05F14-8EB7-42D4-8828-79EF4F8C8A6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56085" y="3105028"/>
            <a:ext cx="10728000" cy="576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Fare clic per inserire il testo</a:t>
            </a:r>
          </a:p>
        </p:txBody>
      </p:sp>
      <p:sp>
        <p:nvSpPr>
          <p:cNvPr id="23" name="Symbol zastępczy tekstu 2">
            <a:extLst>
              <a:ext uri="{FF2B5EF4-FFF2-40B4-BE49-F238E27FC236}">
                <a16:creationId xmlns:a16="http://schemas.microsoft.com/office/drawing/2014/main" id="{31AE3CDC-9DCC-4936-8F1B-6CC168383A2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56085" y="3897116"/>
            <a:ext cx="10728000" cy="576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Fare clic per inserire il testo</a:t>
            </a:r>
          </a:p>
        </p:txBody>
      </p:sp>
      <p:sp>
        <p:nvSpPr>
          <p:cNvPr id="24" name="Symbol zastępczy tekstu 2">
            <a:extLst>
              <a:ext uri="{FF2B5EF4-FFF2-40B4-BE49-F238E27FC236}">
                <a16:creationId xmlns:a16="http://schemas.microsoft.com/office/drawing/2014/main" id="{61F9105D-D12A-4295-81A9-CF18E5F6909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56085" y="4689204"/>
            <a:ext cx="10728000" cy="576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Fare clic per inserire il testo</a:t>
            </a:r>
          </a:p>
        </p:txBody>
      </p:sp>
      <p:sp>
        <p:nvSpPr>
          <p:cNvPr id="25" name="Symbol zastępczy tekstu 2">
            <a:extLst>
              <a:ext uri="{FF2B5EF4-FFF2-40B4-BE49-F238E27FC236}">
                <a16:creationId xmlns:a16="http://schemas.microsoft.com/office/drawing/2014/main" id="{99FA460E-8F7C-4F14-9897-889DCBFB8FA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56085" y="5481228"/>
            <a:ext cx="10728000" cy="576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Fare clic per inserire il testo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11656CC-B740-40B2-BF86-0F1C567F7B28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r>
              <a:rPr lang="it-IT" noProof="0"/>
              <a:t>X mese 202X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3D280A6-24DF-40A4-8E35-928172BDC4E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it-IT" noProof="0"/>
              <a:t>PowerPoint Master</a:t>
            </a:r>
            <a:endParaRPr lang="it-IT" b="0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62EBAF2-0ED0-4401-98FE-0538FEC8A3F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it-IT" noProof="0" smtClean="0"/>
              <a:pPr algn="r"/>
              <a:t>‹N›</a:t>
            </a:fld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1718915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2 colon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it-IT" noProof="0"/>
              <a:t>Note a piè pagina/ Fonti</a:t>
            </a:r>
          </a:p>
          <a:p>
            <a:pPr lvl="1"/>
            <a:r>
              <a:rPr lang="it-IT" noProof="0"/>
              <a:t>Livello 2</a:t>
            </a:r>
          </a:p>
          <a:p>
            <a:pPr lvl="1"/>
            <a:r>
              <a:rPr lang="it-IT" noProof="0"/>
              <a:t>Livello 3</a:t>
            </a:r>
          </a:p>
          <a:p>
            <a:pPr lvl="1"/>
            <a:r>
              <a:rPr lang="it-IT" noProof="0"/>
              <a:t>Livello 4</a:t>
            </a:r>
          </a:p>
          <a:p>
            <a:pPr lvl="1"/>
            <a:r>
              <a:rPr lang="it-IT" noProof="0"/>
              <a:t>Livello 5</a:t>
            </a:r>
          </a:p>
          <a:p>
            <a:pPr lvl="1"/>
            <a:r>
              <a:rPr lang="it-IT" noProof="0"/>
              <a:t>Livello 6</a:t>
            </a:r>
          </a:p>
          <a:p>
            <a:pPr lvl="1"/>
            <a:r>
              <a:rPr lang="it-IT" noProof="0"/>
              <a:t>Livello 7</a:t>
            </a:r>
          </a:p>
          <a:p>
            <a:pPr lvl="1"/>
            <a:r>
              <a:rPr lang="it-IT" noProof="0"/>
              <a:t>Livello 8</a:t>
            </a:r>
          </a:p>
          <a:p>
            <a:pPr lvl="1"/>
            <a:r>
              <a:rPr lang="it-IT" noProof="0"/>
              <a:t>Livello 9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 noProof="0"/>
              <a:t>Aggiungi titolo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it-IT" noProof="0"/>
              <a:t>Titolo del capitolo</a:t>
            </a:r>
          </a:p>
          <a:p>
            <a:pPr lvl="0"/>
            <a:r>
              <a:rPr lang="it-IT" noProof="0"/>
              <a:t>Livello 2</a:t>
            </a:r>
          </a:p>
          <a:p>
            <a:pPr lvl="2"/>
            <a:r>
              <a:rPr lang="it-IT" noProof="0"/>
              <a:t>Livello 3</a:t>
            </a:r>
          </a:p>
          <a:p>
            <a:pPr lvl="2"/>
            <a:r>
              <a:rPr lang="it-IT" noProof="0"/>
              <a:t>Livello 4</a:t>
            </a:r>
          </a:p>
          <a:p>
            <a:pPr lvl="2"/>
            <a:r>
              <a:rPr lang="it-IT" noProof="0"/>
              <a:t>Livello 5</a:t>
            </a:r>
          </a:p>
          <a:p>
            <a:pPr lvl="2"/>
            <a:r>
              <a:rPr lang="it-IT" noProof="0"/>
              <a:t>Livello 6</a:t>
            </a:r>
          </a:p>
          <a:p>
            <a:pPr lvl="2"/>
            <a:r>
              <a:rPr lang="it-IT" noProof="0"/>
              <a:t>Livello 7</a:t>
            </a:r>
          </a:p>
          <a:p>
            <a:pPr lvl="2"/>
            <a:r>
              <a:rPr lang="it-IT" noProof="0"/>
              <a:t>Livello 8</a:t>
            </a:r>
          </a:p>
          <a:p>
            <a:pPr lvl="2"/>
            <a:r>
              <a:rPr lang="it-IT" noProof="0"/>
              <a:t>Livello 9</a:t>
            </a:r>
          </a:p>
        </p:txBody>
      </p:sp>
      <p:sp>
        <p:nvSpPr>
          <p:cNvPr id="8" name="Symbol zastępczy daty 7">
            <a:extLst>
              <a:ext uri="{FF2B5EF4-FFF2-40B4-BE49-F238E27FC236}">
                <a16:creationId xmlns:a16="http://schemas.microsoft.com/office/drawing/2014/main" id="{C204B1AB-3245-49E5-A127-014AEAC61F6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it-IT" noProof="0"/>
              <a:t>X mese 202X</a:t>
            </a:r>
          </a:p>
        </p:txBody>
      </p:sp>
      <p:sp>
        <p:nvSpPr>
          <p:cNvPr id="9" name="Symbol zastępczy stopki 8">
            <a:extLst>
              <a:ext uri="{FF2B5EF4-FFF2-40B4-BE49-F238E27FC236}">
                <a16:creationId xmlns:a16="http://schemas.microsoft.com/office/drawing/2014/main" id="{E9945776-74E6-4B6A-8220-094828B4ED3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 noProof="0"/>
              <a:t>PowerPoint Master</a:t>
            </a:r>
          </a:p>
        </p:txBody>
      </p:sp>
      <p:sp>
        <p:nvSpPr>
          <p:cNvPr id="11" name="Symbol zastępczy numeru slajdu 10">
            <a:extLst>
              <a:ext uri="{FF2B5EF4-FFF2-40B4-BE49-F238E27FC236}">
                <a16:creationId xmlns:a16="http://schemas.microsoft.com/office/drawing/2014/main" id="{1983C97C-1699-434E-88A0-1FE9DAC0309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CFDFCC3-8B40-4EE5-B231-005F2F1C6A68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5" name="Symbol zastępczy tekstu 2">
            <a:extLst>
              <a:ext uri="{FF2B5EF4-FFF2-40B4-BE49-F238E27FC236}">
                <a16:creationId xmlns:a16="http://schemas.microsoft.com/office/drawing/2014/main" id="{AF207A56-7104-41FC-A9EE-BC6FA7982A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52078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it-IT" noProof="0"/>
              <a:t>00</a:t>
            </a:r>
          </a:p>
        </p:txBody>
      </p:sp>
      <p:sp>
        <p:nvSpPr>
          <p:cNvPr id="16" name="Symbol zastępczy tekstu 2">
            <a:extLst>
              <a:ext uri="{FF2B5EF4-FFF2-40B4-BE49-F238E27FC236}">
                <a16:creationId xmlns:a16="http://schemas.microsoft.com/office/drawing/2014/main" id="{09A1A87F-801A-4454-959B-3707F803F8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6723" y="2313004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it-IT" noProof="0"/>
              <a:t>00</a:t>
            </a:r>
          </a:p>
        </p:txBody>
      </p:sp>
      <p:sp>
        <p:nvSpPr>
          <p:cNvPr id="17" name="Symbol zastępczy tekstu 2">
            <a:extLst>
              <a:ext uri="{FF2B5EF4-FFF2-40B4-BE49-F238E27FC236}">
                <a16:creationId xmlns:a16="http://schemas.microsoft.com/office/drawing/2014/main" id="{C370DAE5-371F-4850-A35E-1F834D69F6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7368" y="31050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it-IT" noProof="0"/>
              <a:t>00</a:t>
            </a:r>
          </a:p>
        </p:txBody>
      </p:sp>
      <p:sp>
        <p:nvSpPr>
          <p:cNvPr id="18" name="Symbol zastępczy tekstu 2">
            <a:extLst>
              <a:ext uri="{FF2B5EF4-FFF2-40B4-BE49-F238E27FC236}">
                <a16:creationId xmlns:a16="http://schemas.microsoft.com/office/drawing/2014/main" id="{331AE295-E638-40D5-A256-CF1A02346BC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7368" y="3897180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it-IT" noProof="0"/>
              <a:t>00</a:t>
            </a:r>
          </a:p>
        </p:txBody>
      </p:sp>
      <p:sp>
        <p:nvSpPr>
          <p:cNvPr id="19" name="Symbol zastępczy tekstu 2">
            <a:extLst>
              <a:ext uri="{FF2B5EF4-FFF2-40B4-BE49-F238E27FC236}">
                <a16:creationId xmlns:a16="http://schemas.microsoft.com/office/drawing/2014/main" id="{D4BB144A-BF9E-4B42-B5CE-5416E26B946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7368" y="468926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it-IT" noProof="0"/>
              <a:t>00</a:t>
            </a:r>
          </a:p>
        </p:txBody>
      </p:sp>
      <p:sp>
        <p:nvSpPr>
          <p:cNvPr id="20" name="Symbol zastępczy tekstu 2">
            <a:extLst>
              <a:ext uri="{FF2B5EF4-FFF2-40B4-BE49-F238E27FC236}">
                <a16:creationId xmlns:a16="http://schemas.microsoft.com/office/drawing/2014/main" id="{FDCCE525-69AD-4E9C-8CE2-1BE3538DAA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7368" y="54812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it-IT" noProof="0"/>
              <a:t>00</a:t>
            </a:r>
          </a:p>
        </p:txBody>
      </p:sp>
      <p:sp>
        <p:nvSpPr>
          <p:cNvPr id="21" name="Symbol zastępczy tekstu 2">
            <a:extLst>
              <a:ext uri="{FF2B5EF4-FFF2-40B4-BE49-F238E27FC236}">
                <a16:creationId xmlns:a16="http://schemas.microsoft.com/office/drawing/2014/main" id="{95951527-722B-49E1-9B50-58ED925F62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6085" y="1520788"/>
            <a:ext cx="4824536" cy="576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Fare clic per inserire il testo</a:t>
            </a:r>
          </a:p>
        </p:txBody>
      </p:sp>
      <p:sp>
        <p:nvSpPr>
          <p:cNvPr id="22" name="Symbol zastępczy tekstu 2">
            <a:extLst>
              <a:ext uri="{FF2B5EF4-FFF2-40B4-BE49-F238E27FC236}">
                <a16:creationId xmlns:a16="http://schemas.microsoft.com/office/drawing/2014/main" id="{E589AD80-9824-4E62-BBB5-0756918E4C3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5440" y="2313004"/>
            <a:ext cx="4824536" cy="576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Fare clic per inserire il testo</a:t>
            </a:r>
          </a:p>
        </p:txBody>
      </p:sp>
      <p:sp>
        <p:nvSpPr>
          <p:cNvPr id="23" name="Symbol zastępczy tekstu 2">
            <a:extLst>
              <a:ext uri="{FF2B5EF4-FFF2-40B4-BE49-F238E27FC236}">
                <a16:creationId xmlns:a16="http://schemas.microsoft.com/office/drawing/2014/main" id="{601977FB-D13A-4BF7-9B5D-B79C019660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56085" y="3105092"/>
            <a:ext cx="4824536" cy="576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Fare clic per inserire il testo</a:t>
            </a:r>
          </a:p>
        </p:txBody>
      </p:sp>
      <p:sp>
        <p:nvSpPr>
          <p:cNvPr id="24" name="Symbol zastępczy tekstu 2">
            <a:extLst>
              <a:ext uri="{FF2B5EF4-FFF2-40B4-BE49-F238E27FC236}">
                <a16:creationId xmlns:a16="http://schemas.microsoft.com/office/drawing/2014/main" id="{A9A5F647-F0FD-4E3B-A4C7-47FD4646815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56085" y="3897180"/>
            <a:ext cx="4824536" cy="576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Fare clic per inserire il testo</a:t>
            </a:r>
          </a:p>
        </p:txBody>
      </p:sp>
      <p:sp>
        <p:nvSpPr>
          <p:cNvPr id="25" name="Symbol zastępczy tekstu 2">
            <a:extLst>
              <a:ext uri="{FF2B5EF4-FFF2-40B4-BE49-F238E27FC236}">
                <a16:creationId xmlns:a16="http://schemas.microsoft.com/office/drawing/2014/main" id="{AA4477D4-26DA-4944-A1CE-15782AB43E6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56085" y="4689268"/>
            <a:ext cx="4824536" cy="576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Fare clic per inserire il testo</a:t>
            </a:r>
          </a:p>
        </p:txBody>
      </p:sp>
      <p:sp>
        <p:nvSpPr>
          <p:cNvPr id="26" name="Symbol zastępczy tekstu 2">
            <a:extLst>
              <a:ext uri="{FF2B5EF4-FFF2-40B4-BE49-F238E27FC236}">
                <a16:creationId xmlns:a16="http://schemas.microsoft.com/office/drawing/2014/main" id="{3517444B-543B-4C6C-9279-2ED7BF0993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56085" y="5481292"/>
            <a:ext cx="4824536" cy="576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Fare clic per inserire il testo</a:t>
            </a:r>
          </a:p>
        </p:txBody>
      </p:sp>
      <p:sp>
        <p:nvSpPr>
          <p:cNvPr id="27" name="Symbol zastępczy tekstu 2">
            <a:extLst>
              <a:ext uri="{FF2B5EF4-FFF2-40B4-BE49-F238E27FC236}">
                <a16:creationId xmlns:a16="http://schemas.microsoft.com/office/drawing/2014/main" id="{CE039690-9ECE-4AB1-A3C0-66B4CA89BEF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11379" y="152078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it-IT" noProof="0"/>
              <a:t>00</a:t>
            </a:r>
          </a:p>
        </p:txBody>
      </p:sp>
      <p:sp>
        <p:nvSpPr>
          <p:cNvPr id="28" name="Symbol zastępczy tekstu 2">
            <a:extLst>
              <a:ext uri="{FF2B5EF4-FFF2-40B4-BE49-F238E27FC236}">
                <a16:creationId xmlns:a16="http://schemas.microsoft.com/office/drawing/2014/main" id="{7270A56F-30AE-43F8-8D9C-773579ECA0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10734" y="2313004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it-IT" noProof="0"/>
              <a:t>00</a:t>
            </a:r>
          </a:p>
        </p:txBody>
      </p:sp>
      <p:sp>
        <p:nvSpPr>
          <p:cNvPr id="29" name="Symbol zastępczy tekstu 2">
            <a:extLst>
              <a:ext uri="{FF2B5EF4-FFF2-40B4-BE49-F238E27FC236}">
                <a16:creationId xmlns:a16="http://schemas.microsoft.com/office/drawing/2014/main" id="{02322EE6-B48C-47E6-BC1B-6102065D985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11379" y="31050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it-IT" noProof="0"/>
              <a:t>00</a:t>
            </a:r>
          </a:p>
        </p:txBody>
      </p:sp>
      <p:sp>
        <p:nvSpPr>
          <p:cNvPr id="30" name="Symbol zastępczy tekstu 2">
            <a:extLst>
              <a:ext uri="{FF2B5EF4-FFF2-40B4-BE49-F238E27FC236}">
                <a16:creationId xmlns:a16="http://schemas.microsoft.com/office/drawing/2014/main" id="{9D4557B8-A49A-458D-ADBF-B719FF9BC65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11379" y="3897180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it-IT" noProof="0"/>
              <a:t>00</a:t>
            </a:r>
          </a:p>
        </p:txBody>
      </p:sp>
      <p:sp>
        <p:nvSpPr>
          <p:cNvPr id="31" name="Symbol zastępczy tekstu 2">
            <a:extLst>
              <a:ext uri="{FF2B5EF4-FFF2-40B4-BE49-F238E27FC236}">
                <a16:creationId xmlns:a16="http://schemas.microsoft.com/office/drawing/2014/main" id="{86BFF05E-ED67-4096-9E5D-A0C0C2F0037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11379" y="468926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it-IT" noProof="0"/>
              <a:t>00</a:t>
            </a:r>
          </a:p>
        </p:txBody>
      </p:sp>
      <p:sp>
        <p:nvSpPr>
          <p:cNvPr id="32" name="Symbol zastępczy tekstu 2">
            <a:extLst>
              <a:ext uri="{FF2B5EF4-FFF2-40B4-BE49-F238E27FC236}">
                <a16:creationId xmlns:a16="http://schemas.microsoft.com/office/drawing/2014/main" id="{B1C15EC8-9485-400C-9B21-8C88ABDCE33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11379" y="54812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it-IT" noProof="0"/>
              <a:t>00</a:t>
            </a:r>
          </a:p>
        </p:txBody>
      </p:sp>
      <p:sp>
        <p:nvSpPr>
          <p:cNvPr id="33" name="Symbol zastępczy tekstu 2">
            <a:extLst>
              <a:ext uri="{FF2B5EF4-FFF2-40B4-BE49-F238E27FC236}">
                <a16:creationId xmlns:a16="http://schemas.microsoft.com/office/drawing/2014/main" id="{A2307B4E-1493-4587-8B1D-095FEA8A046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960096" y="1520788"/>
            <a:ext cx="4824536" cy="576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Fare clic per inserire il testo</a:t>
            </a:r>
          </a:p>
        </p:txBody>
      </p:sp>
      <p:sp>
        <p:nvSpPr>
          <p:cNvPr id="34" name="Symbol zastępczy tekstu 2">
            <a:extLst>
              <a:ext uri="{FF2B5EF4-FFF2-40B4-BE49-F238E27FC236}">
                <a16:creationId xmlns:a16="http://schemas.microsoft.com/office/drawing/2014/main" id="{45BE9BA3-27A7-4128-9276-465A4F0E902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959451" y="2313004"/>
            <a:ext cx="4824536" cy="576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Fare clic per inserire il testo</a:t>
            </a:r>
          </a:p>
        </p:txBody>
      </p:sp>
      <p:sp>
        <p:nvSpPr>
          <p:cNvPr id="35" name="Symbol zastępczy tekstu 2">
            <a:extLst>
              <a:ext uri="{FF2B5EF4-FFF2-40B4-BE49-F238E27FC236}">
                <a16:creationId xmlns:a16="http://schemas.microsoft.com/office/drawing/2014/main" id="{4364BFBF-1F35-47D6-A344-E3CD2119FED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960096" y="3105092"/>
            <a:ext cx="4824536" cy="576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Fare clic per inserire il testo</a:t>
            </a:r>
          </a:p>
        </p:txBody>
      </p:sp>
      <p:sp>
        <p:nvSpPr>
          <p:cNvPr id="36" name="Symbol zastępczy tekstu 2">
            <a:extLst>
              <a:ext uri="{FF2B5EF4-FFF2-40B4-BE49-F238E27FC236}">
                <a16:creationId xmlns:a16="http://schemas.microsoft.com/office/drawing/2014/main" id="{1E164401-E487-460D-B215-7E55E14CBA8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960096" y="3897180"/>
            <a:ext cx="4824536" cy="576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Fare clic per inserire il testo</a:t>
            </a:r>
          </a:p>
        </p:txBody>
      </p:sp>
      <p:sp>
        <p:nvSpPr>
          <p:cNvPr id="37" name="Symbol zastępczy tekstu 2">
            <a:extLst>
              <a:ext uri="{FF2B5EF4-FFF2-40B4-BE49-F238E27FC236}">
                <a16:creationId xmlns:a16="http://schemas.microsoft.com/office/drawing/2014/main" id="{9502F8AC-B41D-40A4-91E3-D97092267B6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960096" y="4689268"/>
            <a:ext cx="4824536" cy="576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Fare clic per inserire il testo</a:t>
            </a:r>
          </a:p>
        </p:txBody>
      </p:sp>
      <p:sp>
        <p:nvSpPr>
          <p:cNvPr id="38" name="Symbol zastępczy tekstu 2">
            <a:extLst>
              <a:ext uri="{FF2B5EF4-FFF2-40B4-BE49-F238E27FC236}">
                <a16:creationId xmlns:a16="http://schemas.microsoft.com/office/drawing/2014/main" id="{16921B21-93F0-4394-9762-9CFF3D75A7C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960096" y="5481292"/>
            <a:ext cx="4824536" cy="576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Fare clic per 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174431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aratore capitol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it-IT" sz="2489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59150" y="1340768"/>
            <a:ext cx="7417370" cy="1655478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it-IT" noProof="0"/>
              <a:t>Titolo della presentazione </a:t>
            </a:r>
            <a:br>
              <a:rPr lang="it-IT" noProof="0"/>
            </a:br>
            <a:r>
              <a:rPr lang="it-IT" noProof="0"/>
              <a:t>(1 o 2 righe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59150" y="3573176"/>
            <a:ext cx="7417370" cy="1440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 i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it-IT" noProof="0"/>
              <a:t>Eventuale sottotitolo </a:t>
            </a:r>
          </a:p>
          <a:p>
            <a:r>
              <a:rPr lang="it-IT" noProof="0"/>
              <a:t>(1 o 2 righe)</a:t>
            </a:r>
          </a:p>
          <a:p>
            <a:r>
              <a:rPr lang="it-IT" noProof="0"/>
              <a:t>Livello 2</a:t>
            </a:r>
          </a:p>
          <a:p>
            <a:r>
              <a:rPr lang="it-IT" noProof="0"/>
              <a:t>Livello 3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4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5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6</a:t>
            </a:r>
          </a:p>
          <a:p>
            <a:r>
              <a:rPr lang="it-IT" noProof="0"/>
              <a:t>Livello 7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8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9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147366A-AF80-4876-A258-9ABD39B636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359820"/>
            <a:ext cx="2519363" cy="1584325"/>
          </a:xfrm>
        </p:spPr>
        <p:txBody>
          <a:bodyPr tIns="144000" anchor="ctr" anchorCtr="0"/>
          <a:lstStyle>
            <a:lvl1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bg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bg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it-IT" noProof="0"/>
              <a:t>00</a:t>
            </a:r>
          </a:p>
          <a:p>
            <a:pPr lvl="0"/>
            <a:r>
              <a:rPr lang="it-IT" noProof="0"/>
              <a:t>Second level</a:t>
            </a:r>
          </a:p>
          <a:p>
            <a:pPr lvl="0"/>
            <a:r>
              <a:rPr lang="it-IT" noProof="0"/>
              <a:t>Third level</a:t>
            </a:r>
          </a:p>
          <a:p>
            <a:pPr lvl="0"/>
            <a:r>
              <a:rPr lang="it-IT" noProof="0"/>
              <a:t>Fourth level</a:t>
            </a:r>
          </a:p>
          <a:p>
            <a:pPr lvl="0"/>
            <a:r>
              <a:rPr lang="it-IT" noProof="0"/>
              <a:t>Fifth level</a:t>
            </a:r>
          </a:p>
          <a:p>
            <a:pPr lvl="0"/>
            <a:r>
              <a:rPr lang="it-IT" noProof="0"/>
              <a:t>Six</a:t>
            </a:r>
          </a:p>
          <a:p>
            <a:pPr lvl="0"/>
            <a:r>
              <a:rPr lang="it-IT" noProof="0"/>
              <a:t>Seven</a:t>
            </a:r>
          </a:p>
          <a:p>
            <a:pPr lvl="0"/>
            <a:r>
              <a:rPr lang="it-IT" noProof="0"/>
              <a:t>Eight</a:t>
            </a:r>
          </a:p>
          <a:p>
            <a:pPr lvl="0"/>
            <a:r>
              <a:rPr lang="it-IT" noProof="0"/>
              <a:t>Nine</a:t>
            </a:r>
          </a:p>
        </p:txBody>
      </p:sp>
    </p:spTree>
    <p:extLst>
      <p:ext uri="{BB962C8B-B14F-4D97-AF65-F5344CB8AC3E}">
        <p14:creationId xmlns:p14="http://schemas.microsoft.com/office/powerpoint/2010/main" val="28243208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aratore capitoli (versione per stamp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4" hidden="1">
            <a:extLst>
              <a:ext uri="{FF2B5EF4-FFF2-40B4-BE49-F238E27FC236}">
                <a16:creationId xmlns:a16="http://schemas.microsoft.com/office/drawing/2014/main" id="{A85DE8FC-85EB-49B6-98E6-059ECFBD18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7187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5" name="Obiekt 4" hidden="1">
                        <a:extLst>
                          <a:ext uri="{FF2B5EF4-FFF2-40B4-BE49-F238E27FC236}">
                            <a16:creationId xmlns:a16="http://schemas.microsoft.com/office/drawing/2014/main" id="{A85DE8FC-85EB-49B6-98E6-059ECFBD18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59150" y="1340768"/>
            <a:ext cx="7417370" cy="1655478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-IT" noProof="0"/>
              <a:t>Titolo della presentazione </a:t>
            </a:r>
            <a:br>
              <a:rPr lang="it-IT" noProof="0"/>
            </a:br>
            <a:r>
              <a:rPr lang="it-IT" noProof="0"/>
              <a:t>(1 o 2 righe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59150" y="3573176"/>
            <a:ext cx="7417370" cy="1440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it-IT" noProof="0"/>
              <a:t>Eventuale sottotitolo </a:t>
            </a:r>
          </a:p>
          <a:p>
            <a:r>
              <a:rPr lang="it-IT" noProof="0"/>
              <a:t>(1 o 2 righe)</a:t>
            </a:r>
          </a:p>
          <a:p>
            <a:r>
              <a:rPr lang="it-IT" noProof="0"/>
              <a:t>Livello 2</a:t>
            </a:r>
          </a:p>
          <a:p>
            <a:r>
              <a:rPr lang="it-IT" noProof="0"/>
              <a:t>Livello 3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4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5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6</a:t>
            </a:r>
          </a:p>
          <a:p>
            <a:r>
              <a:rPr lang="it-IT" noProof="0"/>
              <a:t>Livello 7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8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9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147366A-AF80-4876-A258-9ABD39B636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359820"/>
            <a:ext cx="2519363" cy="1584325"/>
          </a:xfrm>
        </p:spPr>
        <p:txBody>
          <a:bodyPr tIns="144000" anchor="ctr" anchorCtr="0"/>
          <a:lstStyle>
            <a:lvl1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it-IT" noProof="0"/>
              <a:t>00</a:t>
            </a:r>
          </a:p>
          <a:p>
            <a:pPr lvl="0"/>
            <a:r>
              <a:rPr lang="it-IT" noProof="0"/>
              <a:t>Second level</a:t>
            </a:r>
          </a:p>
          <a:p>
            <a:pPr lvl="0"/>
            <a:r>
              <a:rPr lang="it-IT" noProof="0"/>
              <a:t>Third level</a:t>
            </a:r>
          </a:p>
          <a:p>
            <a:pPr lvl="0"/>
            <a:r>
              <a:rPr lang="it-IT" noProof="0"/>
              <a:t>Fourth level</a:t>
            </a:r>
          </a:p>
          <a:p>
            <a:pPr lvl="0"/>
            <a:r>
              <a:rPr lang="it-IT" noProof="0"/>
              <a:t>Fifth level</a:t>
            </a:r>
          </a:p>
          <a:p>
            <a:pPr lvl="0"/>
            <a:r>
              <a:rPr lang="it-IT" noProof="0"/>
              <a:t>Six</a:t>
            </a:r>
          </a:p>
          <a:p>
            <a:pPr lvl="0"/>
            <a:r>
              <a:rPr lang="it-IT" noProof="0"/>
              <a:t>Seven</a:t>
            </a:r>
          </a:p>
          <a:p>
            <a:pPr lvl="0"/>
            <a:r>
              <a:rPr lang="it-IT" noProof="0"/>
              <a:t>Eight</a:t>
            </a:r>
          </a:p>
          <a:p>
            <a:pPr lvl="0"/>
            <a:r>
              <a:rPr lang="it-IT" noProof="0"/>
              <a:t>Nine</a:t>
            </a:r>
          </a:p>
        </p:txBody>
      </p:sp>
    </p:spTree>
    <p:extLst>
      <p:ext uri="{BB962C8B-B14F-4D97-AF65-F5344CB8AC3E}">
        <p14:creationId xmlns:p14="http://schemas.microsoft.com/office/powerpoint/2010/main" val="4038687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aratore capitoli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89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59150" y="1340768"/>
            <a:ext cx="4537075" cy="1655478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it-IT" noProof="0"/>
              <a:t>Titolo della presentazione </a:t>
            </a:r>
            <a:br>
              <a:rPr lang="it-IT" noProof="0"/>
            </a:br>
            <a:r>
              <a:rPr lang="it-IT" noProof="0"/>
              <a:t>(1 o 2 righe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59150" y="3573176"/>
            <a:ext cx="4537075" cy="1440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 i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it-IT" noProof="0"/>
              <a:t>Eventuale sottotitolo </a:t>
            </a:r>
          </a:p>
          <a:p>
            <a:r>
              <a:rPr lang="it-IT" noProof="0"/>
              <a:t>(1 o 2 righe)</a:t>
            </a:r>
          </a:p>
          <a:p>
            <a:r>
              <a:rPr lang="it-IT" noProof="0"/>
              <a:t>Livello 2</a:t>
            </a:r>
          </a:p>
          <a:p>
            <a:r>
              <a:rPr lang="it-IT" noProof="0"/>
              <a:t>Livello 3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4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5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6</a:t>
            </a:r>
          </a:p>
          <a:p>
            <a:r>
              <a:rPr lang="it-IT" noProof="0"/>
              <a:t>Livello 7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8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noProof="0"/>
              <a:t>Livello 9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147366A-AF80-4876-A258-9ABD39B636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359820"/>
            <a:ext cx="2519363" cy="1584325"/>
          </a:xfrm>
        </p:spPr>
        <p:txBody>
          <a:bodyPr tIns="144000" anchor="ctr" anchorCtr="0"/>
          <a:lstStyle>
            <a:lvl1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bg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bg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it-IT" noProof="0"/>
              <a:t>00</a:t>
            </a:r>
          </a:p>
          <a:p>
            <a:pPr lvl="0"/>
            <a:r>
              <a:rPr lang="it-IT" noProof="0"/>
              <a:t>Second level</a:t>
            </a:r>
          </a:p>
          <a:p>
            <a:pPr lvl="0"/>
            <a:r>
              <a:rPr lang="it-IT" noProof="0"/>
              <a:t>Third level</a:t>
            </a:r>
          </a:p>
          <a:p>
            <a:pPr lvl="0"/>
            <a:r>
              <a:rPr lang="it-IT" noProof="0"/>
              <a:t>Fourth level</a:t>
            </a:r>
          </a:p>
          <a:p>
            <a:pPr lvl="0"/>
            <a:r>
              <a:rPr lang="it-IT" noProof="0"/>
              <a:t>Fifth level</a:t>
            </a:r>
          </a:p>
          <a:p>
            <a:pPr lvl="0"/>
            <a:r>
              <a:rPr lang="it-IT" noProof="0"/>
              <a:t>Six</a:t>
            </a:r>
          </a:p>
          <a:p>
            <a:pPr lvl="0"/>
            <a:r>
              <a:rPr lang="it-IT" noProof="0"/>
              <a:t>Seven</a:t>
            </a:r>
          </a:p>
          <a:p>
            <a:pPr lvl="0"/>
            <a:r>
              <a:rPr lang="it-IT" noProof="0"/>
              <a:t>Eight</a:t>
            </a:r>
          </a:p>
          <a:p>
            <a:pPr lvl="0"/>
            <a:r>
              <a:rPr lang="it-IT" noProof="0"/>
              <a:t>Ni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62EF2F3-AE5D-4BD1-B244-0252E5F562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8183562" y="0"/>
            <a:ext cx="4008437" cy="6857999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24060438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6A8C11E-A4FB-46CD-B4A5-E93B19F627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20647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415" imgH="416" progId="TCLayout.ActiveDocument.1">
                  <p:embed/>
                </p:oleObj>
              </mc:Choice>
              <mc:Fallback>
                <p:oleObj name="think-cell Folie" r:id="rId31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6A8C11E-A4FB-46CD-B4A5-E93B19F62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it-IT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07988" y="1557338"/>
            <a:ext cx="11376025" cy="44640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/>
              <a:t>Clicca per modificare il testo. Usa lo strumento “Aumenta/Riduci livello elenco” dal pulsante che trovi nel tab “Home” per </a:t>
            </a:r>
            <a:r>
              <a:rPr lang="it-IT" noProof="0"/>
              <a:t>aumentare</a:t>
            </a:r>
            <a:r>
              <a:rPr lang="it-IT"/>
              <a:t> o diminuire i paragrafi del testo.</a:t>
            </a:r>
          </a:p>
          <a:p>
            <a:pPr lvl="1"/>
            <a:r>
              <a:rPr lang="it-IT"/>
              <a:t>Livello 2</a:t>
            </a:r>
          </a:p>
          <a:p>
            <a:pPr lvl="2"/>
            <a:r>
              <a:rPr lang="it-IT"/>
              <a:t>Livello 3		</a:t>
            </a:r>
          </a:p>
          <a:p>
            <a:pPr lvl="3"/>
            <a:r>
              <a:rPr lang="it-IT"/>
              <a:t>Livello 4</a:t>
            </a:r>
          </a:p>
          <a:p>
            <a:pPr lvl="4"/>
            <a:r>
              <a:rPr lang="it-IT"/>
              <a:t>Livello 5</a:t>
            </a:r>
          </a:p>
          <a:p>
            <a:pPr lvl="5"/>
            <a:r>
              <a:rPr lang="it-IT"/>
              <a:t>Livello 6</a:t>
            </a:r>
          </a:p>
          <a:p>
            <a:pPr lvl="6"/>
            <a:r>
              <a:rPr lang="it-IT"/>
              <a:t>Livello 7</a:t>
            </a:r>
          </a:p>
          <a:p>
            <a:pPr lvl="7"/>
            <a:r>
              <a:rPr lang="it-IT"/>
              <a:t>Livello 8</a:t>
            </a:r>
          </a:p>
          <a:p>
            <a:pPr lvl="8"/>
            <a:r>
              <a:rPr lang="it-IT"/>
              <a:t>Livello 9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A232406-5D1F-4019-A1B4-D1FE1B8E5B2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07988" y="6525368"/>
            <a:ext cx="864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it-IT"/>
              <a:t>X. mese 202X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0422BFB-FDCF-40DF-8706-BE2DD1303A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631376" y="6525368"/>
            <a:ext cx="5616624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it-IT"/>
              <a:t>PowerPoint Master</a:t>
            </a:r>
            <a:endParaRPr lang="it-IT" b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55CFDEC0-FDC8-4458-9278-C1E1E7F898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525368"/>
            <a:ext cx="36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>
                <a:solidFill>
                  <a:schemeClr val="tx1"/>
                </a:solidFill>
              </a:defRPr>
            </a:lvl1pPr>
          </a:lstStyle>
          <a:p>
            <a:pPr algn="r"/>
            <a:fld id="{8CFDFCC3-8B40-4EE5-B231-005F2F1C6A68}" type="slidenum">
              <a:rPr lang="it-IT" smtClean="0"/>
              <a:pPr algn="r"/>
              <a:t>‹N›</a:t>
            </a:fld>
            <a:endParaRPr lang="it-IT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A615A0EE-8B49-4970-8F31-54CAB8753562}"/>
              </a:ext>
            </a:extLst>
          </p:cNvPr>
          <p:cNvGrpSpPr/>
          <p:nvPr userDrawn="1"/>
        </p:nvGrpSpPr>
        <p:grpSpPr bwMode="gray">
          <a:xfrm>
            <a:off x="407368" y="-132726"/>
            <a:ext cx="11377264" cy="72000"/>
            <a:chOff x="407368" y="-132726"/>
            <a:chExt cx="11377264" cy="72000"/>
          </a:xfrm>
        </p:grpSpPr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028BC2D0-DB4B-493D-B494-1587AF911805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407368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D3DDC106-3D96-492C-934E-5E56B69FA20C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4007768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FDC58F67-1BD0-4280-B265-2A51CDE1985C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4295800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BAAC8661-90CE-4537-9100-7C5F573F93C8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5879976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23E55292-57DB-4CA8-9AC5-D138423FE4B8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6312024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37C332C-740E-4084-B28E-2D7E1E136C09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7896200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90FB4CB5-57B5-4C7A-9E6C-F430DE61AC00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8184232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36CF3DE2-72C5-4897-919E-99D960EC288F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1784632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55E74843-5C9A-4874-9485-7E29F159D522}"/>
              </a:ext>
            </a:extLst>
          </p:cNvPr>
          <p:cNvGrpSpPr/>
          <p:nvPr userDrawn="1"/>
        </p:nvGrpSpPr>
        <p:grpSpPr bwMode="gray">
          <a:xfrm>
            <a:off x="-122081" y="1556792"/>
            <a:ext cx="72000" cy="4464496"/>
            <a:chOff x="-168688" y="1556792"/>
            <a:chExt cx="72000" cy="4464496"/>
          </a:xfrm>
        </p:grpSpPr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08A42BF2-103F-44E0-B8D8-C6DDA6C7BA22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-168688" y="1556792"/>
              <a:ext cx="72000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7EDE62A2-BE72-466B-BFD7-D096F7A5E41A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-168688" y="6021288"/>
              <a:ext cx="72000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9861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87" r:id="rId2"/>
    <p:sldLayoutId id="2147483665" r:id="rId3"/>
    <p:sldLayoutId id="2147483688" r:id="rId4"/>
    <p:sldLayoutId id="2147483668" r:id="rId5"/>
    <p:sldLayoutId id="2147483683" r:id="rId6"/>
    <p:sldLayoutId id="2147483670" r:id="rId7"/>
    <p:sldLayoutId id="2147483689" r:id="rId8"/>
    <p:sldLayoutId id="2147483671" r:id="rId9"/>
    <p:sldLayoutId id="2147483690" r:id="rId10"/>
    <p:sldLayoutId id="2147483650" r:id="rId11"/>
    <p:sldLayoutId id="2147483666" r:id="rId12"/>
    <p:sldLayoutId id="2147483667" r:id="rId13"/>
    <p:sldLayoutId id="2147483674" r:id="rId14"/>
    <p:sldLayoutId id="2147483673" r:id="rId15"/>
    <p:sldLayoutId id="2147483654" r:id="rId16"/>
    <p:sldLayoutId id="2147483692" r:id="rId17"/>
    <p:sldLayoutId id="2147483675" r:id="rId18"/>
    <p:sldLayoutId id="2147483676" r:id="rId19"/>
    <p:sldLayoutId id="2147483678" r:id="rId20"/>
    <p:sldLayoutId id="2147483679" r:id="rId21"/>
    <p:sldLayoutId id="2147483682" r:id="rId22"/>
    <p:sldLayoutId id="2147483680" r:id="rId23"/>
    <p:sldLayoutId id="2147483681" r:id="rId24"/>
    <p:sldLayoutId id="2147483694" r:id="rId25"/>
    <p:sldLayoutId id="2147483685" r:id="rId26"/>
    <p:sldLayoutId id="2147483655" r:id="rId27"/>
    <p:sldLayoutId id="2147483691" r:id="rId28"/>
  </p:sldLayoutIdLs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1989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864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64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864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 userDrawn="1">
          <p15:clr>
            <a:srgbClr val="5ACBF0"/>
          </p15:clr>
        </p15:guide>
        <p15:guide id="12" pos="7423" userDrawn="1">
          <p15:clr>
            <a:srgbClr val="5ACBF0"/>
          </p15:clr>
        </p15:guide>
        <p15:guide id="13" orient="horz" pos="981" userDrawn="1">
          <p15:clr>
            <a:srgbClr val="5ACBF0"/>
          </p15:clr>
        </p15:guide>
        <p15:guide id="14" orient="horz" pos="3793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8.xml"/><Relationship Id="rId13" Type="http://schemas.openxmlformats.org/officeDocument/2006/relationships/image" Target="../media/image59.png"/><Relationship Id="rId3" Type="http://schemas.openxmlformats.org/officeDocument/2006/relationships/slideLayout" Target="../slideLayouts/slideLayout16.xml"/><Relationship Id="rId7" Type="http://schemas.openxmlformats.org/officeDocument/2006/relationships/diagramData" Target="../diagrams/data8.xml"/><Relationship Id="rId12" Type="http://schemas.openxmlformats.org/officeDocument/2006/relationships/image" Target="../media/image32.pn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11.emf"/><Relationship Id="rId11" Type="http://schemas.microsoft.com/office/2007/relationships/diagramDrawing" Target="../diagrams/drawing8.xml"/><Relationship Id="rId5" Type="http://schemas.openxmlformats.org/officeDocument/2006/relationships/oleObject" Target="../embeddings/oleObject23.bin"/><Relationship Id="rId10" Type="http://schemas.openxmlformats.org/officeDocument/2006/relationships/diagramColors" Target="../diagrams/colors8.xml"/><Relationship Id="rId4" Type="http://schemas.openxmlformats.org/officeDocument/2006/relationships/notesSlide" Target="../notesSlides/notesSlide10.xml"/><Relationship Id="rId9" Type="http://schemas.openxmlformats.org/officeDocument/2006/relationships/diagramQuickStyle" Target="../diagrams/quickStyle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9.xml"/><Relationship Id="rId13" Type="http://schemas.openxmlformats.org/officeDocument/2006/relationships/image" Target="../media/image60.png"/><Relationship Id="rId3" Type="http://schemas.openxmlformats.org/officeDocument/2006/relationships/slideLayout" Target="../slideLayouts/slideLayout16.xml"/><Relationship Id="rId7" Type="http://schemas.openxmlformats.org/officeDocument/2006/relationships/diagramData" Target="../diagrams/data9.xml"/><Relationship Id="rId12" Type="http://schemas.openxmlformats.org/officeDocument/2006/relationships/image" Target="../media/image32.pn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1.emf"/><Relationship Id="rId11" Type="http://schemas.microsoft.com/office/2007/relationships/diagramDrawing" Target="../diagrams/drawing9.xml"/><Relationship Id="rId5" Type="http://schemas.openxmlformats.org/officeDocument/2006/relationships/oleObject" Target="../embeddings/oleObject27.bin"/><Relationship Id="rId15" Type="http://schemas.microsoft.com/office/2007/relationships/hdphoto" Target="../media/hdphoto1.wdp"/><Relationship Id="rId10" Type="http://schemas.openxmlformats.org/officeDocument/2006/relationships/diagramColors" Target="../diagrams/colors9.xml"/><Relationship Id="rId4" Type="http://schemas.openxmlformats.org/officeDocument/2006/relationships/notesSlide" Target="../notesSlides/notesSlide11.xml"/><Relationship Id="rId9" Type="http://schemas.openxmlformats.org/officeDocument/2006/relationships/diagramQuickStyle" Target="../diagrams/quickStyle9.xml"/><Relationship Id="rId14" Type="http://schemas.openxmlformats.org/officeDocument/2006/relationships/image" Target="../media/image6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0.xml"/><Relationship Id="rId13" Type="http://schemas.openxmlformats.org/officeDocument/2006/relationships/image" Target="../media/image62.png"/><Relationship Id="rId3" Type="http://schemas.openxmlformats.org/officeDocument/2006/relationships/slideLayout" Target="../slideLayouts/slideLayout16.xml"/><Relationship Id="rId7" Type="http://schemas.openxmlformats.org/officeDocument/2006/relationships/diagramData" Target="../diagrams/data10.xml"/><Relationship Id="rId12" Type="http://schemas.openxmlformats.org/officeDocument/2006/relationships/image" Target="../media/image32.png"/><Relationship Id="rId2" Type="http://schemas.openxmlformats.org/officeDocument/2006/relationships/tags" Target="../tags/tag52.xml"/><Relationship Id="rId16" Type="http://schemas.openxmlformats.org/officeDocument/2006/relationships/image" Target="../media/image65.png"/><Relationship Id="rId1" Type="http://schemas.openxmlformats.org/officeDocument/2006/relationships/tags" Target="../tags/tag51.xml"/><Relationship Id="rId6" Type="http://schemas.openxmlformats.org/officeDocument/2006/relationships/image" Target="../media/image11.emf"/><Relationship Id="rId11" Type="http://schemas.microsoft.com/office/2007/relationships/diagramDrawing" Target="../diagrams/drawing10.xml"/><Relationship Id="rId5" Type="http://schemas.openxmlformats.org/officeDocument/2006/relationships/oleObject" Target="../embeddings/oleObject28.bin"/><Relationship Id="rId15" Type="http://schemas.openxmlformats.org/officeDocument/2006/relationships/image" Target="../media/image64.png"/><Relationship Id="rId10" Type="http://schemas.openxmlformats.org/officeDocument/2006/relationships/diagramColors" Target="../diagrams/colors10.xml"/><Relationship Id="rId4" Type="http://schemas.openxmlformats.org/officeDocument/2006/relationships/notesSlide" Target="../notesSlides/notesSlide12.xml"/><Relationship Id="rId9" Type="http://schemas.openxmlformats.org/officeDocument/2006/relationships/diagramQuickStyle" Target="../diagrams/quickStyle10.xml"/><Relationship Id="rId14" Type="http://schemas.openxmlformats.org/officeDocument/2006/relationships/image" Target="../media/image6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1.xml"/><Relationship Id="rId13" Type="http://schemas.openxmlformats.org/officeDocument/2006/relationships/image" Target="../media/image66.jpg"/><Relationship Id="rId3" Type="http://schemas.openxmlformats.org/officeDocument/2006/relationships/slideLayout" Target="../slideLayouts/slideLayout16.xml"/><Relationship Id="rId7" Type="http://schemas.openxmlformats.org/officeDocument/2006/relationships/diagramData" Target="../diagrams/data11.xml"/><Relationship Id="rId12" Type="http://schemas.openxmlformats.org/officeDocument/2006/relationships/image" Target="../media/image32.pn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11.emf"/><Relationship Id="rId11" Type="http://schemas.microsoft.com/office/2007/relationships/diagramDrawing" Target="../diagrams/drawing11.xml"/><Relationship Id="rId5" Type="http://schemas.openxmlformats.org/officeDocument/2006/relationships/oleObject" Target="../embeddings/oleObject29.bin"/><Relationship Id="rId10" Type="http://schemas.openxmlformats.org/officeDocument/2006/relationships/diagramColors" Target="../diagrams/colors11.xml"/><Relationship Id="rId4" Type="http://schemas.openxmlformats.org/officeDocument/2006/relationships/notesSlide" Target="../notesSlides/notesSlide13.xml"/><Relationship Id="rId9" Type="http://schemas.openxmlformats.org/officeDocument/2006/relationships/diagramQuickStyle" Target="../diagrams/quickStyle11.xml"/><Relationship Id="rId14" Type="http://schemas.openxmlformats.org/officeDocument/2006/relationships/image" Target="../media/image6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13" Type="http://schemas.openxmlformats.org/officeDocument/2006/relationships/image" Target="../media/image71.png"/><Relationship Id="rId18" Type="http://schemas.openxmlformats.org/officeDocument/2006/relationships/image" Target="../media/image76.png"/><Relationship Id="rId3" Type="http://schemas.openxmlformats.org/officeDocument/2006/relationships/tags" Target="../tags/tag57.xml"/><Relationship Id="rId7" Type="http://schemas.openxmlformats.org/officeDocument/2006/relationships/notesSlide" Target="../notesSlides/notesSlide14.xml"/><Relationship Id="rId12" Type="http://schemas.openxmlformats.org/officeDocument/2006/relationships/image" Target="../media/image70.png"/><Relationship Id="rId17" Type="http://schemas.openxmlformats.org/officeDocument/2006/relationships/image" Target="../media/image75.jpg"/><Relationship Id="rId2" Type="http://schemas.openxmlformats.org/officeDocument/2006/relationships/tags" Target="../tags/tag56.xml"/><Relationship Id="rId16" Type="http://schemas.openxmlformats.org/officeDocument/2006/relationships/image" Target="../media/image74.png"/><Relationship Id="rId1" Type="http://schemas.openxmlformats.org/officeDocument/2006/relationships/tags" Target="../tags/tag55.xml"/><Relationship Id="rId6" Type="http://schemas.openxmlformats.org/officeDocument/2006/relationships/slideLayout" Target="../slideLayouts/slideLayout16.xml"/><Relationship Id="rId11" Type="http://schemas.openxmlformats.org/officeDocument/2006/relationships/image" Target="../media/image69.jpg"/><Relationship Id="rId5" Type="http://schemas.openxmlformats.org/officeDocument/2006/relationships/tags" Target="../tags/tag59.xml"/><Relationship Id="rId15" Type="http://schemas.openxmlformats.org/officeDocument/2006/relationships/image" Target="../media/image73.png"/><Relationship Id="rId10" Type="http://schemas.openxmlformats.org/officeDocument/2006/relationships/image" Target="../media/image68.png"/><Relationship Id="rId19" Type="http://schemas.openxmlformats.org/officeDocument/2006/relationships/image" Target="../media/image77.svg"/><Relationship Id="rId4" Type="http://schemas.openxmlformats.org/officeDocument/2006/relationships/tags" Target="../tags/tag58.xml"/><Relationship Id="rId9" Type="http://schemas.openxmlformats.org/officeDocument/2006/relationships/image" Target="../media/image11.emf"/><Relationship Id="rId14" Type="http://schemas.openxmlformats.org/officeDocument/2006/relationships/image" Target="../media/image7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78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2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26" Type="http://schemas.openxmlformats.org/officeDocument/2006/relationships/image" Target="../media/image29.png"/><Relationship Id="rId3" Type="http://schemas.openxmlformats.org/officeDocument/2006/relationships/tags" Target="../tags/tag27.xml"/><Relationship Id="rId21" Type="http://schemas.openxmlformats.org/officeDocument/2006/relationships/image" Target="../media/image24.png"/><Relationship Id="rId7" Type="http://schemas.openxmlformats.org/officeDocument/2006/relationships/slideLayout" Target="../slideLayouts/slideLayout5.xml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5" Type="http://schemas.openxmlformats.org/officeDocument/2006/relationships/image" Target="../media/image28.png"/><Relationship Id="rId2" Type="http://schemas.openxmlformats.org/officeDocument/2006/relationships/tags" Target="../tags/tag26.xml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image" Target="../media/image14.png"/><Relationship Id="rId24" Type="http://schemas.openxmlformats.org/officeDocument/2006/relationships/image" Target="../media/image27.jpeg"/><Relationship Id="rId5" Type="http://schemas.openxmlformats.org/officeDocument/2006/relationships/tags" Target="../tags/tag29.xml"/><Relationship Id="rId15" Type="http://schemas.openxmlformats.org/officeDocument/2006/relationships/image" Target="../media/image18.png"/><Relationship Id="rId23" Type="http://schemas.openxmlformats.org/officeDocument/2006/relationships/image" Target="../media/image26.png"/><Relationship Id="rId28" Type="http://schemas.openxmlformats.org/officeDocument/2006/relationships/image" Target="../media/image31.jpg"/><Relationship Id="rId10" Type="http://schemas.openxmlformats.org/officeDocument/2006/relationships/image" Target="../media/image2.emf"/><Relationship Id="rId19" Type="http://schemas.openxmlformats.org/officeDocument/2006/relationships/image" Target="../media/image22.png"/><Relationship Id="rId4" Type="http://schemas.openxmlformats.org/officeDocument/2006/relationships/tags" Target="../tags/tag28.xml"/><Relationship Id="rId9" Type="http://schemas.openxmlformats.org/officeDocument/2006/relationships/oleObject" Target="../embeddings/oleObject21.bin"/><Relationship Id="rId14" Type="http://schemas.openxmlformats.org/officeDocument/2006/relationships/image" Target="../media/image17.png"/><Relationship Id="rId22" Type="http://schemas.openxmlformats.org/officeDocument/2006/relationships/image" Target="../media/image25.png"/><Relationship Id="rId27" Type="http://schemas.openxmlformats.org/officeDocument/2006/relationships/image" Target="../media/image30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16.xml"/><Relationship Id="rId7" Type="http://schemas.openxmlformats.org/officeDocument/2006/relationships/diagramData" Target="../diagrams/data1.xml"/><Relationship Id="rId12" Type="http://schemas.openxmlformats.org/officeDocument/2006/relationships/image" Target="../media/image32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22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4.xml"/><Relationship Id="rId9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13" Type="http://schemas.microsoft.com/office/2007/relationships/diagramDrawing" Target="../diagrams/drawing2.xml"/><Relationship Id="rId3" Type="http://schemas.openxmlformats.org/officeDocument/2006/relationships/tags" Target="../tags/tag35.xml"/><Relationship Id="rId7" Type="http://schemas.openxmlformats.org/officeDocument/2006/relationships/oleObject" Target="../embeddings/oleObject23.bin"/><Relationship Id="rId12" Type="http://schemas.openxmlformats.org/officeDocument/2006/relationships/diagramColors" Target="../diagrams/colors2.xml"/><Relationship Id="rId2" Type="http://schemas.openxmlformats.org/officeDocument/2006/relationships/tags" Target="../tags/tag34.xml"/><Relationship Id="rId16" Type="http://schemas.openxmlformats.org/officeDocument/2006/relationships/image" Target="../media/image34.jpg"/><Relationship Id="rId1" Type="http://schemas.openxmlformats.org/officeDocument/2006/relationships/tags" Target="../tags/tag33.xml"/><Relationship Id="rId6" Type="http://schemas.openxmlformats.org/officeDocument/2006/relationships/notesSlide" Target="../notesSlides/notesSlide5.xml"/><Relationship Id="rId11" Type="http://schemas.openxmlformats.org/officeDocument/2006/relationships/diagramQuickStyle" Target="../diagrams/quickStyle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33.jpg"/><Relationship Id="rId10" Type="http://schemas.openxmlformats.org/officeDocument/2006/relationships/diagramLayout" Target="../diagrams/layout2.xml"/><Relationship Id="rId4" Type="http://schemas.openxmlformats.org/officeDocument/2006/relationships/tags" Target="../tags/tag36.xml"/><Relationship Id="rId9" Type="http://schemas.openxmlformats.org/officeDocument/2006/relationships/diagramData" Target="../diagrams/data2.xml"/><Relationship Id="rId14" Type="http://schemas.openxmlformats.org/officeDocument/2006/relationships/image" Target="../media/image3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13" Type="http://schemas.openxmlformats.org/officeDocument/2006/relationships/image" Target="../media/image34.jpg"/><Relationship Id="rId18" Type="http://schemas.openxmlformats.org/officeDocument/2006/relationships/image" Target="../media/image39.png"/><Relationship Id="rId26" Type="http://schemas.openxmlformats.org/officeDocument/2006/relationships/image" Target="../media/image47.png"/><Relationship Id="rId3" Type="http://schemas.openxmlformats.org/officeDocument/2006/relationships/tags" Target="../tags/tag39.xml"/><Relationship Id="rId21" Type="http://schemas.openxmlformats.org/officeDocument/2006/relationships/image" Target="../media/image42.png"/><Relationship Id="rId7" Type="http://schemas.openxmlformats.org/officeDocument/2006/relationships/image" Target="../media/image11.emf"/><Relationship Id="rId12" Type="http://schemas.microsoft.com/office/2007/relationships/diagramDrawing" Target="../diagrams/drawing3.xml"/><Relationship Id="rId17" Type="http://schemas.openxmlformats.org/officeDocument/2006/relationships/image" Target="../media/image38.png"/><Relationship Id="rId25" Type="http://schemas.openxmlformats.org/officeDocument/2006/relationships/image" Target="../media/image46.png"/><Relationship Id="rId2" Type="http://schemas.openxmlformats.org/officeDocument/2006/relationships/tags" Target="../tags/tag38.xml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1" Type="http://schemas.openxmlformats.org/officeDocument/2006/relationships/tags" Target="../tags/tag37.xml"/><Relationship Id="rId6" Type="http://schemas.openxmlformats.org/officeDocument/2006/relationships/oleObject" Target="../embeddings/oleObject24.bin"/><Relationship Id="rId11" Type="http://schemas.openxmlformats.org/officeDocument/2006/relationships/diagramColors" Target="../diagrams/colors3.xml"/><Relationship Id="rId24" Type="http://schemas.openxmlformats.org/officeDocument/2006/relationships/image" Target="../media/image45.png"/><Relationship Id="rId5" Type="http://schemas.openxmlformats.org/officeDocument/2006/relationships/notesSlide" Target="../notesSlides/notesSlide6.xml"/><Relationship Id="rId15" Type="http://schemas.openxmlformats.org/officeDocument/2006/relationships/image" Target="../media/image36.png"/><Relationship Id="rId23" Type="http://schemas.openxmlformats.org/officeDocument/2006/relationships/image" Target="../media/image44.png"/><Relationship Id="rId10" Type="http://schemas.openxmlformats.org/officeDocument/2006/relationships/diagramQuickStyle" Target="../diagrams/quickStyle3.xml"/><Relationship Id="rId19" Type="http://schemas.openxmlformats.org/officeDocument/2006/relationships/image" Target="../media/image40.png"/><Relationship Id="rId4" Type="http://schemas.openxmlformats.org/officeDocument/2006/relationships/slideLayout" Target="../slideLayouts/slideLayout16.xml"/><Relationship Id="rId9" Type="http://schemas.openxmlformats.org/officeDocument/2006/relationships/diagramLayout" Target="../diagrams/layout3.xml"/><Relationship Id="rId14" Type="http://schemas.openxmlformats.org/officeDocument/2006/relationships/image" Target="../media/image35.png"/><Relationship Id="rId22" Type="http://schemas.openxmlformats.org/officeDocument/2006/relationships/image" Target="../media/image4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image" Target="../media/image48.png"/><Relationship Id="rId3" Type="http://schemas.openxmlformats.org/officeDocument/2006/relationships/tags" Target="../tags/tag42.xml"/><Relationship Id="rId7" Type="http://schemas.openxmlformats.org/officeDocument/2006/relationships/image" Target="../media/image11.emf"/><Relationship Id="rId12" Type="http://schemas.microsoft.com/office/2007/relationships/diagramDrawing" Target="../diagrams/drawing4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oleObject" Target="../embeddings/oleObject25.bin"/><Relationship Id="rId11" Type="http://schemas.openxmlformats.org/officeDocument/2006/relationships/diagramColors" Target="../diagrams/colors4.xml"/><Relationship Id="rId5" Type="http://schemas.openxmlformats.org/officeDocument/2006/relationships/notesSlide" Target="../notesSlides/notesSlide7.xml"/><Relationship Id="rId15" Type="http://schemas.openxmlformats.org/officeDocument/2006/relationships/image" Target="../media/image33.jpg"/><Relationship Id="rId10" Type="http://schemas.openxmlformats.org/officeDocument/2006/relationships/diagramQuickStyle" Target="../diagrams/quickStyle4.xml"/><Relationship Id="rId4" Type="http://schemas.openxmlformats.org/officeDocument/2006/relationships/slideLayout" Target="../slideLayouts/slideLayout16.xml"/><Relationship Id="rId9" Type="http://schemas.openxmlformats.org/officeDocument/2006/relationships/diagramLayout" Target="../diagrams/layout4.xml"/><Relationship Id="rId14" Type="http://schemas.openxmlformats.org/officeDocument/2006/relationships/image" Target="../media/image4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13" Type="http://schemas.openxmlformats.org/officeDocument/2006/relationships/diagramData" Target="../diagrams/data6.xml"/><Relationship Id="rId3" Type="http://schemas.openxmlformats.org/officeDocument/2006/relationships/slideLayout" Target="../slideLayouts/slideLayout16.xml"/><Relationship Id="rId7" Type="http://schemas.openxmlformats.org/officeDocument/2006/relationships/diagramData" Target="../diagrams/data5.xml"/><Relationship Id="rId12" Type="http://schemas.openxmlformats.org/officeDocument/2006/relationships/image" Target="../media/image32.png"/><Relationship Id="rId17" Type="http://schemas.microsoft.com/office/2007/relationships/diagramDrawing" Target="../diagrams/drawing6.xml"/><Relationship Id="rId2" Type="http://schemas.openxmlformats.org/officeDocument/2006/relationships/tags" Target="../tags/tag44.xml"/><Relationship Id="rId16" Type="http://schemas.openxmlformats.org/officeDocument/2006/relationships/diagramColors" Target="../diagrams/colors6.xml"/><Relationship Id="rId1" Type="http://schemas.openxmlformats.org/officeDocument/2006/relationships/tags" Target="../tags/tag43.xml"/><Relationship Id="rId6" Type="http://schemas.openxmlformats.org/officeDocument/2006/relationships/image" Target="../media/image11.emf"/><Relationship Id="rId11" Type="http://schemas.microsoft.com/office/2007/relationships/diagramDrawing" Target="../diagrams/drawing5.xml"/><Relationship Id="rId5" Type="http://schemas.openxmlformats.org/officeDocument/2006/relationships/oleObject" Target="../embeddings/oleObject26.bin"/><Relationship Id="rId15" Type="http://schemas.openxmlformats.org/officeDocument/2006/relationships/diagramQuickStyle" Target="../diagrams/quickStyle6.xml"/><Relationship Id="rId10" Type="http://schemas.openxmlformats.org/officeDocument/2006/relationships/diagramColors" Target="../diagrams/colors5.xml"/><Relationship Id="rId4" Type="http://schemas.openxmlformats.org/officeDocument/2006/relationships/notesSlide" Target="../notesSlides/notesSlide8.xml"/><Relationship Id="rId9" Type="http://schemas.openxmlformats.org/officeDocument/2006/relationships/diagramQuickStyle" Target="../diagrams/quickStyle5.xml"/><Relationship Id="rId14" Type="http://schemas.openxmlformats.org/officeDocument/2006/relationships/diagramLayout" Target="../diagrams/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.xml"/><Relationship Id="rId13" Type="http://schemas.openxmlformats.org/officeDocument/2006/relationships/image" Target="../media/image56.jpeg"/><Relationship Id="rId3" Type="http://schemas.openxmlformats.org/officeDocument/2006/relationships/slideLayout" Target="../slideLayouts/slideLayout16.xml"/><Relationship Id="rId7" Type="http://schemas.openxmlformats.org/officeDocument/2006/relationships/diagramData" Target="../diagrams/data7.xml"/><Relationship Id="rId12" Type="http://schemas.openxmlformats.org/officeDocument/2006/relationships/image" Target="../media/image32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11.emf"/><Relationship Id="rId11" Type="http://schemas.microsoft.com/office/2007/relationships/diagramDrawing" Target="../diagrams/drawing7.xml"/><Relationship Id="rId5" Type="http://schemas.openxmlformats.org/officeDocument/2006/relationships/oleObject" Target="../embeddings/oleObject23.bin"/><Relationship Id="rId15" Type="http://schemas.openxmlformats.org/officeDocument/2006/relationships/image" Target="../media/image58.png"/><Relationship Id="rId10" Type="http://schemas.openxmlformats.org/officeDocument/2006/relationships/diagramColors" Target="../diagrams/colors7.xml"/><Relationship Id="rId4" Type="http://schemas.openxmlformats.org/officeDocument/2006/relationships/notesSlide" Target="../notesSlides/notesSlide9.xml"/><Relationship Id="rId9" Type="http://schemas.openxmlformats.org/officeDocument/2006/relationships/diagramQuickStyle" Target="../diagrams/quickStyle7.xml"/><Relationship Id="rId14" Type="http://schemas.openxmlformats.org/officeDocument/2006/relationships/image" Target="../media/image5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73848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>
            <a:extLst>
              <a:ext uri="{FF2B5EF4-FFF2-40B4-BE49-F238E27FC236}">
                <a16:creationId xmlns:a16="http://schemas.microsoft.com/office/drawing/2014/main" id="{B8A0A866-B576-4696-8376-16FF25D807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1" name="Objekt 30" hidden="1">
                        <a:extLst>
                          <a:ext uri="{FF2B5EF4-FFF2-40B4-BE49-F238E27FC236}">
                            <a16:creationId xmlns:a16="http://schemas.microsoft.com/office/drawing/2014/main" id="{B8A0A866-B576-4696-8376-16FF25D807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28" hidden="1">
            <a:extLst>
              <a:ext uri="{FF2B5EF4-FFF2-40B4-BE49-F238E27FC236}">
                <a16:creationId xmlns:a16="http://schemas.microsoft.com/office/drawing/2014/main" id="{D3785CF5-5079-4BB9-8DBE-537D4B2FA877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b="1">
              <a:solidFill>
                <a:schemeClr val="bg1"/>
              </a:solidFill>
              <a:latin typeface="Lidl Font Pro" panose="02000000000000000000" pitchFamily="2" charset="0"/>
              <a:ea typeface="+mj-ea"/>
              <a:cs typeface="+mj-cs"/>
              <a:sym typeface="Lidl Font Pro" panose="02000000000000000000" pitchFamily="2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3DAD791-0982-477D-BB84-73B6FB989C1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it-IT" sz="900" dirty="0"/>
              <a:t>Gennaio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7768FC9-7925-4283-BC5A-F47085B35B4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 dirty="0"/>
              <a:t>Confcommercio provincia di Cremona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407E1CB-C1E5-4CE3-92D3-8286F8C7744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it-IT" smtClean="0"/>
              <a:pPr algn="r"/>
              <a:t>10</a:t>
            </a:fld>
            <a:endParaRPr lang="it-IT"/>
          </a:p>
        </p:txBody>
      </p:sp>
      <p:sp>
        <p:nvSpPr>
          <p:cNvPr id="30" name="Titel 13">
            <a:extLst>
              <a:ext uri="{FF2B5EF4-FFF2-40B4-BE49-F238E27FC236}">
                <a16:creationId xmlns:a16="http://schemas.microsoft.com/office/drawing/2014/main" id="{B12B48F5-2FC1-477F-873B-A482D11274B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7488857" cy="576000"/>
          </a:xfrm>
        </p:spPr>
        <p:txBody>
          <a:bodyPr vert="horz"/>
          <a:lstStyle/>
          <a:p>
            <a:r>
              <a:rPr lang="it-IT" dirty="0"/>
              <a:t>Perché associarsi a Confcommercio? </a:t>
            </a:r>
            <a:endParaRPr lang="it-IT" noProof="0" dirty="0"/>
          </a:p>
        </p:txBody>
      </p:sp>
      <p:graphicFrame>
        <p:nvGraphicFramePr>
          <p:cNvPr id="12" name="Diagramma 11">
            <a:extLst>
              <a:ext uri="{FF2B5EF4-FFF2-40B4-BE49-F238E27FC236}">
                <a16:creationId xmlns:a16="http://schemas.microsoft.com/office/drawing/2014/main" id="{EE6AE2AF-E640-9958-50AF-80D4A9460A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6516076"/>
              </p:ext>
            </p:extLst>
          </p:nvPr>
        </p:nvGraphicFramePr>
        <p:xfrm>
          <a:off x="491645" y="1373312"/>
          <a:ext cx="7568973" cy="5095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15" name="Immagine 14">
            <a:extLst>
              <a:ext uri="{FF2B5EF4-FFF2-40B4-BE49-F238E27FC236}">
                <a16:creationId xmlns:a16="http://schemas.microsoft.com/office/drawing/2014/main" id="{6530B272-50FD-2424-AB97-BC5BF3F6ADF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921578" y="0"/>
            <a:ext cx="3278091" cy="6858000"/>
          </a:xfrm>
          <a:prstGeom prst="rect">
            <a:avLst/>
          </a:prstGeom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4500992C-467B-23F5-A8E8-56495A64A98C}"/>
              </a:ext>
            </a:extLst>
          </p:cNvPr>
          <p:cNvSpPr/>
          <p:nvPr/>
        </p:nvSpPr>
        <p:spPr bwMode="gray">
          <a:xfrm>
            <a:off x="-914400" y="2911310"/>
            <a:ext cx="9677400" cy="361405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u="sng" dirty="0" err="1">
              <a:solidFill>
                <a:schemeClr val="bg1"/>
              </a:solidFill>
            </a:endParaRP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22C1AD35-360B-0434-9D35-C9E9AE5DEA41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4186" t="19551" r="14435" b="50149"/>
          <a:stretch/>
        </p:blipFill>
        <p:spPr>
          <a:xfrm>
            <a:off x="623551" y="3324213"/>
            <a:ext cx="7632273" cy="227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9005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>
            <a:extLst>
              <a:ext uri="{FF2B5EF4-FFF2-40B4-BE49-F238E27FC236}">
                <a16:creationId xmlns:a16="http://schemas.microsoft.com/office/drawing/2014/main" id="{B8A0A866-B576-4696-8376-16FF25D807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1" name="Objekt 30" hidden="1">
                        <a:extLst>
                          <a:ext uri="{FF2B5EF4-FFF2-40B4-BE49-F238E27FC236}">
                            <a16:creationId xmlns:a16="http://schemas.microsoft.com/office/drawing/2014/main" id="{B8A0A866-B576-4696-8376-16FF25D807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28" hidden="1">
            <a:extLst>
              <a:ext uri="{FF2B5EF4-FFF2-40B4-BE49-F238E27FC236}">
                <a16:creationId xmlns:a16="http://schemas.microsoft.com/office/drawing/2014/main" id="{D3785CF5-5079-4BB9-8DBE-537D4B2FA877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b="1">
              <a:solidFill>
                <a:schemeClr val="bg1"/>
              </a:solidFill>
              <a:latin typeface="Lidl Font Pro" panose="02000000000000000000" pitchFamily="2" charset="0"/>
              <a:ea typeface="+mj-ea"/>
              <a:cs typeface="+mj-cs"/>
              <a:sym typeface="Lidl Font Pro" panose="02000000000000000000" pitchFamily="2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3DAD791-0982-477D-BB84-73B6FB989C1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it-IT" sz="900" dirty="0"/>
              <a:t>Gennaio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7768FC9-7925-4283-BC5A-F47085B35B4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 dirty="0"/>
              <a:t>Confcommercio provincia di Cremona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407E1CB-C1E5-4CE3-92D3-8286F8C7744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it-IT" smtClean="0"/>
              <a:pPr algn="r"/>
              <a:t>11</a:t>
            </a:fld>
            <a:endParaRPr lang="it-IT"/>
          </a:p>
        </p:txBody>
      </p:sp>
      <p:sp>
        <p:nvSpPr>
          <p:cNvPr id="30" name="Titel 13">
            <a:extLst>
              <a:ext uri="{FF2B5EF4-FFF2-40B4-BE49-F238E27FC236}">
                <a16:creationId xmlns:a16="http://schemas.microsoft.com/office/drawing/2014/main" id="{B12B48F5-2FC1-477F-873B-A482D11274B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7488857" cy="576000"/>
          </a:xfrm>
        </p:spPr>
        <p:txBody>
          <a:bodyPr vert="horz"/>
          <a:lstStyle/>
          <a:p>
            <a:r>
              <a:rPr lang="it-IT" dirty="0"/>
              <a:t>Perché associarsi a Confcommercio? </a:t>
            </a:r>
            <a:endParaRPr lang="it-IT" noProof="0" dirty="0"/>
          </a:p>
        </p:txBody>
      </p:sp>
      <p:graphicFrame>
        <p:nvGraphicFramePr>
          <p:cNvPr id="12" name="Diagramma 11">
            <a:extLst>
              <a:ext uri="{FF2B5EF4-FFF2-40B4-BE49-F238E27FC236}">
                <a16:creationId xmlns:a16="http://schemas.microsoft.com/office/drawing/2014/main" id="{EE6AE2AF-E640-9958-50AF-80D4A9460A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99527866"/>
              </p:ext>
            </p:extLst>
          </p:nvPr>
        </p:nvGraphicFramePr>
        <p:xfrm>
          <a:off x="491645" y="1373312"/>
          <a:ext cx="7568973" cy="5095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15" name="Immagine 14">
            <a:extLst>
              <a:ext uri="{FF2B5EF4-FFF2-40B4-BE49-F238E27FC236}">
                <a16:creationId xmlns:a16="http://schemas.microsoft.com/office/drawing/2014/main" id="{6530B272-50FD-2424-AB97-BC5BF3F6ADF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921578" y="0"/>
            <a:ext cx="3278091" cy="6858000"/>
          </a:xfrm>
          <a:prstGeom prst="rect">
            <a:avLst/>
          </a:prstGeom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4500992C-467B-23F5-A8E8-56495A64A98C}"/>
              </a:ext>
            </a:extLst>
          </p:cNvPr>
          <p:cNvSpPr/>
          <p:nvPr/>
        </p:nvSpPr>
        <p:spPr bwMode="gray">
          <a:xfrm>
            <a:off x="-914400" y="2911310"/>
            <a:ext cx="9677400" cy="361405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u="sng" dirty="0" err="1">
              <a:solidFill>
                <a:schemeClr val="bg1"/>
              </a:solidFill>
            </a:endParaRP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51E2E4EB-0EB2-5969-FA3A-0A64FC26E9DF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r="6400"/>
          <a:stretch/>
        </p:blipFill>
        <p:spPr>
          <a:xfrm>
            <a:off x="4930617" y="3218049"/>
            <a:ext cx="3064345" cy="3319747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F13E0EC3-61B7-ACCE-4091-89F99FA53AE3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10000" b="90000" l="2500" r="90000">
                        <a14:foregroundMark x1="46750" y1="42111" x2="55000" y2="43222"/>
                        <a14:foregroundMark x1="55000" y1="43222" x2="58667" y2="50556"/>
                        <a14:foregroundMark x1="58667" y1="50556" x2="48500" y2="56000"/>
                        <a14:foregroundMark x1="48500" y1="56000" x2="46250" y2="43333"/>
                        <a14:foregroundMark x1="46250" y1="43333" x2="47000" y2="41111"/>
                        <a14:foregroundMark x1="2750" y1="84111" x2="12250" y2="87556"/>
                        <a14:foregroundMark x1="12250" y1="87556" x2="21667" y2="96667"/>
                        <a14:foregroundMark x1="21667" y1="96667" x2="33833" y2="97889"/>
                        <a14:foregroundMark x1="33833" y1="97889" x2="38667" y2="93889"/>
                        <a14:foregroundMark x1="38667" y1="93889" x2="32667" y2="87000"/>
                        <a14:foregroundMark x1="32667" y1="87000" x2="30750" y2="80333"/>
                        <a14:foregroundMark x1="30750" y1="80333" x2="35250" y2="87778"/>
                        <a14:foregroundMark x1="35250" y1="87778" x2="32333" y2="80889"/>
                        <a14:foregroundMark x1="32333" y1="80889" x2="14167" y2="75333"/>
                        <a14:foregroundMark x1="14167" y1="75333" x2="7250" y2="77333"/>
                        <a14:foregroundMark x1="7250" y1="77333" x2="2500" y2="83667"/>
                        <a14:foregroundMark x1="47583" y1="48111" x2="54750" y2="44333"/>
                        <a14:foregroundMark x1="54750" y1="44333" x2="56750" y2="51000"/>
                        <a14:foregroundMark x1="56750" y1="51000" x2="46917" y2="51556"/>
                        <a14:foregroundMark x1="46917" y1="51556" x2="47000" y2="48222"/>
                      </a14:backgroundRemoval>
                    </a14:imgEffect>
                  </a14:imgLayer>
                </a14:imgProps>
              </a:ext>
            </a:extLst>
          </a:blip>
          <a:srcRect t="14469"/>
          <a:stretch/>
        </p:blipFill>
        <p:spPr>
          <a:xfrm>
            <a:off x="264822" y="3203863"/>
            <a:ext cx="5299535" cy="3399577"/>
          </a:xfrm>
          <a:prstGeom prst="rect">
            <a:avLst/>
          </a:prstGeom>
        </p:spPr>
      </p:pic>
      <p:sp>
        <p:nvSpPr>
          <p:cNvPr id="9" name="Freccia in giù 8">
            <a:extLst>
              <a:ext uri="{FF2B5EF4-FFF2-40B4-BE49-F238E27FC236}">
                <a16:creationId xmlns:a16="http://schemas.microsoft.com/office/drawing/2014/main" id="{F3D5BF0E-4D78-6AE7-DF19-32C76F915B13}"/>
              </a:ext>
            </a:extLst>
          </p:cNvPr>
          <p:cNvSpPr/>
          <p:nvPr/>
        </p:nvSpPr>
        <p:spPr bwMode="gray">
          <a:xfrm rot="5400000" flipV="1">
            <a:off x="4288673" y="4635233"/>
            <a:ext cx="406798" cy="573011"/>
          </a:xfrm>
          <a:prstGeom prst="downArrow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50320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>
            <a:extLst>
              <a:ext uri="{FF2B5EF4-FFF2-40B4-BE49-F238E27FC236}">
                <a16:creationId xmlns:a16="http://schemas.microsoft.com/office/drawing/2014/main" id="{B8A0A866-B576-4696-8376-16FF25D807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1" name="Objekt 30" hidden="1">
                        <a:extLst>
                          <a:ext uri="{FF2B5EF4-FFF2-40B4-BE49-F238E27FC236}">
                            <a16:creationId xmlns:a16="http://schemas.microsoft.com/office/drawing/2014/main" id="{B8A0A866-B576-4696-8376-16FF25D807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28" hidden="1">
            <a:extLst>
              <a:ext uri="{FF2B5EF4-FFF2-40B4-BE49-F238E27FC236}">
                <a16:creationId xmlns:a16="http://schemas.microsoft.com/office/drawing/2014/main" id="{D3785CF5-5079-4BB9-8DBE-537D4B2FA877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b="1">
              <a:solidFill>
                <a:schemeClr val="bg1"/>
              </a:solidFill>
              <a:latin typeface="Lidl Font Pro" panose="02000000000000000000" pitchFamily="2" charset="0"/>
              <a:ea typeface="+mj-ea"/>
              <a:cs typeface="+mj-cs"/>
              <a:sym typeface="Lidl Font Pro" panose="02000000000000000000" pitchFamily="2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3DAD791-0982-477D-BB84-73B6FB989C1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it-IT" sz="900" dirty="0"/>
              <a:t>Gennaio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7768FC9-7925-4283-BC5A-F47085B35B4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 dirty="0"/>
              <a:t>Confcommercio provincia di Cremona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407E1CB-C1E5-4CE3-92D3-8286F8C7744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it-IT" smtClean="0"/>
              <a:pPr algn="r"/>
              <a:t>12</a:t>
            </a:fld>
            <a:endParaRPr lang="it-IT"/>
          </a:p>
        </p:txBody>
      </p:sp>
      <p:sp>
        <p:nvSpPr>
          <p:cNvPr id="30" name="Titel 13">
            <a:extLst>
              <a:ext uri="{FF2B5EF4-FFF2-40B4-BE49-F238E27FC236}">
                <a16:creationId xmlns:a16="http://schemas.microsoft.com/office/drawing/2014/main" id="{B12B48F5-2FC1-477F-873B-A482D11274B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7488857" cy="576000"/>
          </a:xfrm>
        </p:spPr>
        <p:txBody>
          <a:bodyPr vert="horz"/>
          <a:lstStyle/>
          <a:p>
            <a:r>
              <a:rPr lang="it-IT" dirty="0"/>
              <a:t>Perché associarsi a Confcommercio? </a:t>
            </a:r>
            <a:endParaRPr lang="it-IT" noProof="0" dirty="0"/>
          </a:p>
        </p:txBody>
      </p:sp>
      <p:graphicFrame>
        <p:nvGraphicFramePr>
          <p:cNvPr id="12" name="Diagramma 11">
            <a:extLst>
              <a:ext uri="{FF2B5EF4-FFF2-40B4-BE49-F238E27FC236}">
                <a16:creationId xmlns:a16="http://schemas.microsoft.com/office/drawing/2014/main" id="{EE6AE2AF-E640-9958-50AF-80D4A9460A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86937722"/>
              </p:ext>
            </p:extLst>
          </p:nvPr>
        </p:nvGraphicFramePr>
        <p:xfrm>
          <a:off x="491645" y="1373312"/>
          <a:ext cx="7568973" cy="5095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15" name="Immagine 14">
            <a:extLst>
              <a:ext uri="{FF2B5EF4-FFF2-40B4-BE49-F238E27FC236}">
                <a16:creationId xmlns:a16="http://schemas.microsoft.com/office/drawing/2014/main" id="{6530B272-50FD-2424-AB97-BC5BF3F6ADF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921578" y="0"/>
            <a:ext cx="3278091" cy="6858000"/>
          </a:xfrm>
          <a:prstGeom prst="rect">
            <a:avLst/>
          </a:prstGeom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4500992C-467B-23F5-A8E8-56495A64A98C}"/>
              </a:ext>
            </a:extLst>
          </p:cNvPr>
          <p:cNvSpPr/>
          <p:nvPr/>
        </p:nvSpPr>
        <p:spPr bwMode="gray">
          <a:xfrm>
            <a:off x="-914400" y="2911310"/>
            <a:ext cx="9677400" cy="361405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u="sng" dirty="0" err="1">
              <a:solidFill>
                <a:schemeClr val="bg1"/>
              </a:solidFill>
            </a:endParaRP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AFE857A7-097C-AF9E-D96F-14E58732EF1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348281" y="4148373"/>
            <a:ext cx="2581602" cy="2358594"/>
          </a:xfrm>
          <a:prstGeom prst="rect">
            <a:avLst/>
          </a:prstGeom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0239077F-1ADB-D880-35FF-A4A0A893A10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150724" y="4148373"/>
            <a:ext cx="2377645" cy="2358594"/>
          </a:xfrm>
          <a:prstGeom prst="rect">
            <a:avLst/>
          </a:prstGeom>
        </p:spPr>
      </p:pic>
      <p:pic>
        <p:nvPicPr>
          <p:cNvPr id="16" name="Immagine 15">
            <a:extLst>
              <a:ext uri="{FF2B5EF4-FFF2-40B4-BE49-F238E27FC236}">
                <a16:creationId xmlns:a16="http://schemas.microsoft.com/office/drawing/2014/main" id="{12DC683F-FFC1-7932-59F4-3F9026B996BA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76817" y="3429000"/>
            <a:ext cx="2581602" cy="2606724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41712D9E-87CD-8EFA-ED95-52C98FD5406D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243591" y="2961805"/>
            <a:ext cx="5366113" cy="1172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0327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>
            <a:extLst>
              <a:ext uri="{FF2B5EF4-FFF2-40B4-BE49-F238E27FC236}">
                <a16:creationId xmlns:a16="http://schemas.microsoft.com/office/drawing/2014/main" id="{B8A0A866-B576-4696-8376-16FF25D807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1" name="Objekt 30" hidden="1">
                        <a:extLst>
                          <a:ext uri="{FF2B5EF4-FFF2-40B4-BE49-F238E27FC236}">
                            <a16:creationId xmlns:a16="http://schemas.microsoft.com/office/drawing/2014/main" id="{B8A0A866-B576-4696-8376-16FF25D807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28" hidden="1">
            <a:extLst>
              <a:ext uri="{FF2B5EF4-FFF2-40B4-BE49-F238E27FC236}">
                <a16:creationId xmlns:a16="http://schemas.microsoft.com/office/drawing/2014/main" id="{D3785CF5-5079-4BB9-8DBE-537D4B2FA877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b="1">
              <a:solidFill>
                <a:schemeClr val="bg1"/>
              </a:solidFill>
              <a:latin typeface="Lidl Font Pro" panose="02000000000000000000" pitchFamily="2" charset="0"/>
              <a:ea typeface="+mj-ea"/>
              <a:cs typeface="+mj-cs"/>
              <a:sym typeface="Lidl Font Pro" panose="02000000000000000000" pitchFamily="2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3DAD791-0982-477D-BB84-73B6FB989C1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it-IT" sz="900" dirty="0"/>
              <a:t>Gennaio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7768FC9-7925-4283-BC5A-F47085B35B4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 dirty="0"/>
              <a:t>Confcommercio provincia di Cremona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407E1CB-C1E5-4CE3-92D3-8286F8C7744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it-IT" smtClean="0"/>
              <a:pPr algn="r"/>
              <a:t>13</a:t>
            </a:fld>
            <a:endParaRPr lang="it-IT"/>
          </a:p>
        </p:txBody>
      </p:sp>
      <p:sp>
        <p:nvSpPr>
          <p:cNvPr id="30" name="Titel 13">
            <a:extLst>
              <a:ext uri="{FF2B5EF4-FFF2-40B4-BE49-F238E27FC236}">
                <a16:creationId xmlns:a16="http://schemas.microsoft.com/office/drawing/2014/main" id="{B12B48F5-2FC1-477F-873B-A482D11274B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7488857" cy="576000"/>
          </a:xfrm>
        </p:spPr>
        <p:txBody>
          <a:bodyPr vert="horz"/>
          <a:lstStyle/>
          <a:p>
            <a:r>
              <a:rPr lang="it-IT" dirty="0"/>
              <a:t>Perché associarsi a Confcommercio? </a:t>
            </a:r>
            <a:endParaRPr lang="it-IT" noProof="0" dirty="0"/>
          </a:p>
        </p:txBody>
      </p:sp>
      <p:graphicFrame>
        <p:nvGraphicFramePr>
          <p:cNvPr id="12" name="Diagramma 11">
            <a:extLst>
              <a:ext uri="{FF2B5EF4-FFF2-40B4-BE49-F238E27FC236}">
                <a16:creationId xmlns:a16="http://schemas.microsoft.com/office/drawing/2014/main" id="{EE6AE2AF-E640-9958-50AF-80D4A9460A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0643950"/>
              </p:ext>
            </p:extLst>
          </p:nvPr>
        </p:nvGraphicFramePr>
        <p:xfrm>
          <a:off x="491645" y="1373312"/>
          <a:ext cx="7568973" cy="5095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15" name="Immagine 14">
            <a:extLst>
              <a:ext uri="{FF2B5EF4-FFF2-40B4-BE49-F238E27FC236}">
                <a16:creationId xmlns:a16="http://schemas.microsoft.com/office/drawing/2014/main" id="{6530B272-50FD-2424-AB97-BC5BF3F6ADF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921578" y="0"/>
            <a:ext cx="3278091" cy="6858000"/>
          </a:xfrm>
          <a:prstGeom prst="rect">
            <a:avLst/>
          </a:prstGeom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4500992C-467B-23F5-A8E8-56495A64A98C}"/>
              </a:ext>
            </a:extLst>
          </p:cNvPr>
          <p:cNvSpPr/>
          <p:nvPr/>
        </p:nvSpPr>
        <p:spPr bwMode="gray">
          <a:xfrm>
            <a:off x="-914400" y="2911310"/>
            <a:ext cx="9677400" cy="361405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u="sng" dirty="0" err="1">
              <a:solidFill>
                <a:schemeClr val="bg1"/>
              </a:solidFill>
            </a:endParaRPr>
          </a:p>
        </p:txBody>
      </p:sp>
      <p:pic>
        <p:nvPicPr>
          <p:cNvPr id="14" name="Immagine 13" descr="Immagine che contiene testo&#10;&#10;Descrizione generata automaticamente">
            <a:extLst>
              <a:ext uri="{FF2B5EF4-FFF2-40B4-BE49-F238E27FC236}">
                <a16:creationId xmlns:a16="http://schemas.microsoft.com/office/drawing/2014/main" id="{A2340025-4964-5264-9178-4A5D4F519666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978" t="60317" r="10644" b="23810"/>
          <a:stretch/>
        </p:blipFill>
        <p:spPr>
          <a:xfrm>
            <a:off x="4426607" y="4205552"/>
            <a:ext cx="4336393" cy="1088573"/>
          </a:xfrm>
          <a:prstGeom prst="rect">
            <a:avLst/>
          </a:prstGeom>
        </p:spPr>
      </p:pic>
      <p:pic>
        <p:nvPicPr>
          <p:cNvPr id="17" name="Immagine 16">
            <a:extLst>
              <a:ext uri="{FF2B5EF4-FFF2-40B4-BE49-F238E27FC236}">
                <a16:creationId xmlns:a16="http://schemas.microsoft.com/office/drawing/2014/main" id="{EF6696F8-BFB4-ED7B-1CD8-AD5BD30400BF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10" t="17227" r="2225" b="41277"/>
          <a:stretch/>
        </p:blipFill>
        <p:spPr>
          <a:xfrm>
            <a:off x="856342" y="3090376"/>
            <a:ext cx="4171024" cy="3218992"/>
          </a:xfrm>
          <a:prstGeom prst="rect">
            <a:avLst/>
          </a:prstGeom>
        </p:spPr>
      </p:pic>
      <p:sp>
        <p:nvSpPr>
          <p:cNvPr id="19" name="Rettangolo 18">
            <a:extLst>
              <a:ext uri="{FF2B5EF4-FFF2-40B4-BE49-F238E27FC236}">
                <a16:creationId xmlns:a16="http://schemas.microsoft.com/office/drawing/2014/main" id="{96FFE02B-8584-7DE4-165D-0634B3154702}"/>
              </a:ext>
            </a:extLst>
          </p:cNvPr>
          <p:cNvSpPr/>
          <p:nvPr/>
        </p:nvSpPr>
        <p:spPr bwMode="gray">
          <a:xfrm>
            <a:off x="856342" y="3207659"/>
            <a:ext cx="833090" cy="435428"/>
          </a:xfrm>
          <a:prstGeom prst="rect">
            <a:avLst/>
          </a:prstGeom>
          <a:solidFill>
            <a:srgbClr val="C7C7B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 err="1">
              <a:solidFill>
                <a:srgbClr val="C7C7BE"/>
              </a:solidFill>
            </a:endParaRPr>
          </a:p>
        </p:txBody>
      </p:sp>
      <p:sp>
        <p:nvSpPr>
          <p:cNvPr id="20" name="Rettangolo 19">
            <a:extLst>
              <a:ext uri="{FF2B5EF4-FFF2-40B4-BE49-F238E27FC236}">
                <a16:creationId xmlns:a16="http://schemas.microsoft.com/office/drawing/2014/main" id="{AA4170D6-E765-A693-3F5C-C15A08192C7C}"/>
              </a:ext>
            </a:extLst>
          </p:cNvPr>
          <p:cNvSpPr/>
          <p:nvPr/>
        </p:nvSpPr>
        <p:spPr bwMode="gray">
          <a:xfrm>
            <a:off x="4151796" y="3340717"/>
            <a:ext cx="833090" cy="435428"/>
          </a:xfrm>
          <a:prstGeom prst="rect">
            <a:avLst/>
          </a:prstGeom>
          <a:solidFill>
            <a:srgbClr val="C7C7B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 err="1">
              <a:solidFill>
                <a:srgbClr val="C7C7BE"/>
              </a:solidFill>
            </a:endParaRPr>
          </a:p>
        </p:txBody>
      </p:sp>
      <p:pic>
        <p:nvPicPr>
          <p:cNvPr id="22" name="Immagine 21" descr="Immagine che contiene logo&#10;&#10;Descrizione generata automaticamente">
            <a:extLst>
              <a:ext uri="{FF2B5EF4-FFF2-40B4-BE49-F238E27FC236}">
                <a16:creationId xmlns:a16="http://schemas.microsoft.com/office/drawing/2014/main" id="{FE440F0C-A6FB-B9C0-06C1-8A0E69E9733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3677" y="2431952"/>
            <a:ext cx="2633173" cy="2207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7232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>
            <a:extLst>
              <a:ext uri="{FF2B5EF4-FFF2-40B4-BE49-F238E27FC236}">
                <a16:creationId xmlns:a16="http://schemas.microsoft.com/office/drawing/2014/main" id="{8CA82811-FFE6-49CB-9DB4-05DE3116A1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06" imgH="306" progId="TCLayout.ActiveDocument.1">
                  <p:embed/>
                </p:oleObj>
              </mc:Choice>
              <mc:Fallback>
                <p:oleObj name="think-cell Folie" r:id="rId8" imgW="306" imgH="306" progId="TCLayout.ActiveDocument.1">
                  <p:embed/>
                  <p:pic>
                    <p:nvPicPr>
                      <p:cNvPr id="26" name="Objekt 25" hidden="1">
                        <a:extLst>
                          <a:ext uri="{FF2B5EF4-FFF2-40B4-BE49-F238E27FC236}">
                            <a16:creationId xmlns:a16="http://schemas.microsoft.com/office/drawing/2014/main" id="{8CA82811-FFE6-49CB-9DB4-05DE3116A1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A1A6BFA0-5CC7-47A4-A49B-C01246FB0967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b="1" dirty="0">
              <a:solidFill>
                <a:schemeClr val="bg1"/>
              </a:solidFill>
              <a:latin typeface="Lidl Font Pro" panose="02000000000000000000" pitchFamily="2" charset="0"/>
              <a:ea typeface="+mj-ea"/>
              <a:cs typeface="+mj-cs"/>
              <a:sym typeface="Lidl Font Pro" panose="02000000000000000000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07368" y="459424"/>
            <a:ext cx="11376000" cy="576000"/>
          </a:xfrm>
        </p:spPr>
        <p:txBody>
          <a:bodyPr vert="horz"/>
          <a:lstStyle/>
          <a:p>
            <a:r>
              <a:rPr lang="it-IT" sz="3200" b="1" dirty="0">
                <a:latin typeface="+mj-lt"/>
              </a:rPr>
              <a:t>Offerta servizi/consulenze</a:t>
            </a:r>
            <a:endParaRPr lang="it-IT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F0D51FA-D82F-41C8-8B59-B2CFAFCEF536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420688" y="6423768"/>
            <a:ext cx="864000" cy="216000"/>
          </a:xfrm>
        </p:spPr>
        <p:txBody>
          <a:bodyPr/>
          <a:lstStyle/>
          <a:p>
            <a:r>
              <a:rPr lang="it-IT" sz="900" dirty="0"/>
              <a:t>Gennaio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09181BA-8CAF-4892-95B6-FFF65E2712B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644076" y="6423768"/>
            <a:ext cx="5616624" cy="216000"/>
          </a:xfrm>
        </p:spPr>
        <p:txBody>
          <a:bodyPr/>
          <a:lstStyle/>
          <a:p>
            <a:r>
              <a:rPr lang="it-IT" dirty="0"/>
              <a:t>Confcommercio provincia di Cremona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7A6959-B6D6-4FE4-9957-F8FE019105B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it-IT" smtClean="0"/>
              <a:pPr algn="r"/>
              <a:t>14</a:t>
            </a:fld>
            <a:endParaRPr lang="it-IT"/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492BE4D0-4C7F-45C6-72F2-3AE5FC1201F5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55" t="40555" r="17798" b="36746"/>
          <a:stretch/>
        </p:blipFill>
        <p:spPr>
          <a:xfrm>
            <a:off x="4927543" y="121052"/>
            <a:ext cx="3345600" cy="969788"/>
          </a:xfrm>
          <a:prstGeom prst="rect">
            <a:avLst/>
          </a:prstGeom>
        </p:spPr>
      </p:pic>
      <p:pic>
        <p:nvPicPr>
          <p:cNvPr id="7" name="Immagine 6" descr="Immagine che contiene logo&#10;&#10;Descrizione generata automaticamente">
            <a:extLst>
              <a:ext uri="{FF2B5EF4-FFF2-40B4-BE49-F238E27FC236}">
                <a16:creationId xmlns:a16="http://schemas.microsoft.com/office/drawing/2014/main" id="{D59649A2-4416-9823-95DC-4810B23C6BE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2809" y="263517"/>
            <a:ext cx="2650671" cy="755441"/>
          </a:xfrm>
          <a:prstGeom prst="rect">
            <a:avLst/>
          </a:prstGeom>
        </p:spPr>
      </p:pic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83DA8950-FB79-D29C-3E07-9A1087CE5941}"/>
              </a:ext>
            </a:extLst>
          </p:cNvPr>
          <p:cNvSpPr txBox="1"/>
          <p:nvPr/>
        </p:nvSpPr>
        <p:spPr bwMode="gray">
          <a:xfrm>
            <a:off x="8271461" y="256721"/>
            <a:ext cx="424892" cy="574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3000" dirty="0"/>
              <a:t>&amp;</a:t>
            </a:r>
          </a:p>
        </p:txBody>
      </p:sp>
      <p:grpSp>
        <p:nvGrpSpPr>
          <p:cNvPr id="74" name="Gruppo 73">
            <a:extLst>
              <a:ext uri="{FF2B5EF4-FFF2-40B4-BE49-F238E27FC236}">
                <a16:creationId xmlns:a16="http://schemas.microsoft.com/office/drawing/2014/main" id="{6B7C564C-0066-2A5D-B78D-56A8826BAA2F}"/>
              </a:ext>
            </a:extLst>
          </p:cNvPr>
          <p:cNvGrpSpPr/>
          <p:nvPr/>
        </p:nvGrpSpPr>
        <p:grpSpPr>
          <a:xfrm>
            <a:off x="348037" y="3419191"/>
            <a:ext cx="10321392" cy="905784"/>
            <a:chOff x="335337" y="3099740"/>
            <a:chExt cx="10338302" cy="905784"/>
          </a:xfrm>
        </p:grpSpPr>
        <p:grpSp>
          <p:nvGrpSpPr>
            <p:cNvPr id="75" name="Group 2">
              <a:extLst>
                <a:ext uri="{FF2B5EF4-FFF2-40B4-BE49-F238E27FC236}">
                  <a16:creationId xmlns:a16="http://schemas.microsoft.com/office/drawing/2014/main" id="{4735BE73-B6DA-9E4A-8B36-F4104E1ED3EF}"/>
                </a:ext>
              </a:extLst>
            </p:cNvPr>
            <p:cNvGrpSpPr/>
            <p:nvPr/>
          </p:nvGrpSpPr>
          <p:grpSpPr>
            <a:xfrm>
              <a:off x="335337" y="3099740"/>
              <a:ext cx="10338302" cy="781876"/>
              <a:chOff x="0" y="0"/>
              <a:chExt cx="1300878" cy="486836"/>
            </a:xfrm>
          </p:grpSpPr>
          <p:sp>
            <p:nvSpPr>
              <p:cNvPr id="78" name="Freeform 3">
                <a:extLst>
                  <a:ext uri="{FF2B5EF4-FFF2-40B4-BE49-F238E27FC236}">
                    <a16:creationId xmlns:a16="http://schemas.microsoft.com/office/drawing/2014/main" id="{7B1E72C7-84A1-1288-FCB2-03B8D938AF2E}"/>
                  </a:ext>
                </a:extLst>
              </p:cNvPr>
              <p:cNvSpPr/>
              <p:nvPr/>
            </p:nvSpPr>
            <p:spPr>
              <a:xfrm>
                <a:off x="0" y="0"/>
                <a:ext cx="1300878" cy="486836"/>
              </a:xfrm>
              <a:custGeom>
                <a:avLst/>
                <a:gdLst/>
                <a:ahLst/>
                <a:cxnLst/>
                <a:rect l="l" t="t" r="r" b="b"/>
                <a:pathLst>
                  <a:path w="1300878" h="486836">
                    <a:moveTo>
                      <a:pt x="0" y="0"/>
                    </a:moveTo>
                    <a:lnTo>
                      <a:pt x="1300878" y="0"/>
                    </a:lnTo>
                    <a:lnTo>
                      <a:pt x="1300878" y="486836"/>
                    </a:lnTo>
                    <a:lnTo>
                      <a:pt x="0" y="486836"/>
                    </a:lnTo>
                    <a:close/>
                  </a:path>
                </a:pathLst>
              </a:custGeom>
              <a:solidFill>
                <a:srgbClr val="76B82A"/>
              </a:solidFill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79" name="TextBox 4">
                <a:extLst>
                  <a:ext uri="{FF2B5EF4-FFF2-40B4-BE49-F238E27FC236}">
                    <a16:creationId xmlns:a16="http://schemas.microsoft.com/office/drawing/2014/main" id="{0663A53B-5375-54A9-9A5A-2100460A748E}"/>
                  </a:ext>
                </a:extLst>
              </p:cNvPr>
              <p:cNvSpPr txBox="1"/>
              <p:nvPr/>
            </p:nvSpPr>
            <p:spPr>
              <a:xfrm>
                <a:off x="0" y="19050"/>
                <a:ext cx="812800" cy="7937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114"/>
                  </a:lnSpc>
                </a:pPr>
                <a:endParaRPr/>
              </a:p>
            </p:txBody>
          </p:sp>
        </p:grpSp>
        <p:sp>
          <p:nvSpPr>
            <p:cNvPr id="76" name="TextBox 43">
              <a:extLst>
                <a:ext uri="{FF2B5EF4-FFF2-40B4-BE49-F238E27FC236}">
                  <a16:creationId xmlns:a16="http://schemas.microsoft.com/office/drawing/2014/main" id="{A076B0FF-C416-F0F2-BF63-4D18AA7F0847}"/>
                </a:ext>
              </a:extLst>
            </p:cNvPr>
            <p:cNvSpPr txBox="1"/>
            <p:nvPr/>
          </p:nvSpPr>
          <p:spPr>
            <a:xfrm>
              <a:off x="1852445" y="3224541"/>
              <a:ext cx="8064000" cy="780983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ts val="1821"/>
                </a:lnSpc>
              </a:pPr>
              <a:r>
                <a:rPr lang="en-US" dirty="0">
                  <a:solidFill>
                    <a:schemeClr val="bg1"/>
                  </a:solidFill>
                  <a:latin typeface="Open Sans"/>
                </a:rPr>
                <a:t>Sportello </a:t>
              </a:r>
              <a:r>
                <a:rPr lang="en-US" dirty="0" err="1">
                  <a:solidFill>
                    <a:schemeClr val="bg1"/>
                  </a:solidFill>
                  <a:latin typeface="Open Sans"/>
                </a:rPr>
                <a:t>bandi</a:t>
              </a:r>
              <a:r>
                <a:rPr lang="en-US" dirty="0">
                  <a:solidFill>
                    <a:schemeClr val="bg1"/>
                  </a:solidFill>
                  <a:latin typeface="Open Sans"/>
                </a:rPr>
                <a:t> </a:t>
              </a:r>
              <a:r>
                <a:rPr lang="en-US" dirty="0">
                  <a:solidFill>
                    <a:schemeClr val="bg1"/>
                  </a:solidFill>
                  <a:latin typeface="Open Sans Bold"/>
                </a:rPr>
                <a:t>FINANZIAMENTI A FONDO PERDUTO</a:t>
              </a:r>
            </a:p>
            <a:p>
              <a:pPr>
                <a:lnSpc>
                  <a:spcPts val="1507"/>
                </a:lnSpc>
              </a:pP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Supporto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per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bandi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nazionali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,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regionali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e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provinciali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</a:t>
              </a:r>
            </a:p>
            <a:p>
              <a:pPr algn="l">
                <a:lnSpc>
                  <a:spcPts val="1507"/>
                </a:lnSpc>
              </a:pPr>
              <a:endParaRPr lang="en-US" dirty="0">
                <a:solidFill>
                  <a:schemeClr val="bg1"/>
                </a:solidFill>
                <a:latin typeface="Open Sans"/>
              </a:endParaRPr>
            </a:p>
          </p:txBody>
        </p:sp>
        <p:pic>
          <p:nvPicPr>
            <p:cNvPr id="77" name="Picture 20">
              <a:extLst>
                <a:ext uri="{FF2B5EF4-FFF2-40B4-BE49-F238E27FC236}">
                  <a16:creationId xmlns:a16="http://schemas.microsoft.com/office/drawing/2014/main" id="{0920868E-340A-95A4-4304-B9B640506A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rcRect/>
            <a:stretch>
              <a:fillRect/>
            </a:stretch>
          </p:blipFill>
          <p:spPr>
            <a:xfrm>
              <a:off x="692581" y="3219311"/>
              <a:ext cx="547075" cy="541764"/>
            </a:xfrm>
            <a:prstGeom prst="rect">
              <a:avLst/>
            </a:prstGeom>
          </p:spPr>
        </p:pic>
      </p:grpSp>
      <p:grpSp>
        <p:nvGrpSpPr>
          <p:cNvPr id="80" name="Gruppo 79">
            <a:extLst>
              <a:ext uri="{FF2B5EF4-FFF2-40B4-BE49-F238E27FC236}">
                <a16:creationId xmlns:a16="http://schemas.microsoft.com/office/drawing/2014/main" id="{753B3347-FF45-ED04-64F1-FF96DE370922}"/>
              </a:ext>
            </a:extLst>
          </p:cNvPr>
          <p:cNvGrpSpPr/>
          <p:nvPr/>
        </p:nvGrpSpPr>
        <p:grpSpPr>
          <a:xfrm>
            <a:off x="348034" y="4955463"/>
            <a:ext cx="10321392" cy="824988"/>
            <a:chOff x="335334" y="4639950"/>
            <a:chExt cx="10338302" cy="722135"/>
          </a:xfrm>
        </p:grpSpPr>
        <p:grpSp>
          <p:nvGrpSpPr>
            <p:cNvPr id="81" name="Group 21">
              <a:extLst>
                <a:ext uri="{FF2B5EF4-FFF2-40B4-BE49-F238E27FC236}">
                  <a16:creationId xmlns:a16="http://schemas.microsoft.com/office/drawing/2014/main" id="{86530745-B2B5-EB56-4F6A-7F7CB4BE2F46}"/>
                </a:ext>
              </a:extLst>
            </p:cNvPr>
            <p:cNvGrpSpPr/>
            <p:nvPr/>
          </p:nvGrpSpPr>
          <p:grpSpPr>
            <a:xfrm>
              <a:off x="335334" y="4639950"/>
              <a:ext cx="10338302" cy="722135"/>
              <a:chOff x="0" y="0"/>
              <a:chExt cx="1300311" cy="478032"/>
            </a:xfrm>
          </p:grpSpPr>
          <p:sp>
            <p:nvSpPr>
              <p:cNvPr id="84" name="Freeform 22">
                <a:extLst>
                  <a:ext uri="{FF2B5EF4-FFF2-40B4-BE49-F238E27FC236}">
                    <a16:creationId xmlns:a16="http://schemas.microsoft.com/office/drawing/2014/main" id="{775083C0-718D-73E1-FF54-6FFACBD6928A}"/>
                  </a:ext>
                </a:extLst>
              </p:cNvPr>
              <p:cNvSpPr/>
              <p:nvPr/>
            </p:nvSpPr>
            <p:spPr>
              <a:xfrm>
                <a:off x="0" y="0"/>
                <a:ext cx="1300311" cy="478032"/>
              </a:xfrm>
              <a:custGeom>
                <a:avLst/>
                <a:gdLst/>
                <a:ahLst/>
                <a:cxnLst/>
                <a:rect l="l" t="t" r="r" b="b"/>
                <a:pathLst>
                  <a:path w="1300311" h="478032">
                    <a:moveTo>
                      <a:pt x="0" y="0"/>
                    </a:moveTo>
                    <a:lnTo>
                      <a:pt x="1300311" y="0"/>
                    </a:lnTo>
                    <a:lnTo>
                      <a:pt x="1300311" y="478032"/>
                    </a:lnTo>
                    <a:lnTo>
                      <a:pt x="0" y="478032"/>
                    </a:lnTo>
                    <a:close/>
                  </a:path>
                </a:pathLst>
              </a:custGeom>
              <a:solidFill>
                <a:srgbClr val="E6007E"/>
              </a:solidFill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85" name="TextBox 23">
                <a:extLst>
                  <a:ext uri="{FF2B5EF4-FFF2-40B4-BE49-F238E27FC236}">
                    <a16:creationId xmlns:a16="http://schemas.microsoft.com/office/drawing/2014/main" id="{ABBB8D26-4056-E524-AB82-D8267018C9A5}"/>
                  </a:ext>
                </a:extLst>
              </p:cNvPr>
              <p:cNvSpPr txBox="1"/>
              <p:nvPr/>
            </p:nvSpPr>
            <p:spPr>
              <a:xfrm>
                <a:off x="0" y="19050"/>
                <a:ext cx="812800" cy="7937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114"/>
                  </a:lnSpc>
                </a:pPr>
                <a:endParaRPr/>
              </a:p>
            </p:txBody>
          </p:sp>
        </p:grpSp>
        <p:sp>
          <p:nvSpPr>
            <p:cNvPr id="82" name="TextBox 46">
              <a:extLst>
                <a:ext uri="{FF2B5EF4-FFF2-40B4-BE49-F238E27FC236}">
                  <a16:creationId xmlns:a16="http://schemas.microsoft.com/office/drawing/2014/main" id="{500C1319-3101-4DF9-6ABD-BF080D34784D}"/>
                </a:ext>
              </a:extLst>
            </p:cNvPr>
            <p:cNvSpPr txBox="1"/>
            <p:nvPr/>
          </p:nvSpPr>
          <p:spPr>
            <a:xfrm>
              <a:off x="1852445" y="4781584"/>
              <a:ext cx="8537479" cy="43946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ts val="1821"/>
                </a:lnSpc>
              </a:pPr>
              <a:r>
                <a:rPr lang="en-US" dirty="0">
                  <a:solidFill>
                    <a:schemeClr val="bg1"/>
                  </a:solidFill>
                  <a:latin typeface="Open Sans"/>
                </a:rPr>
                <a:t>Sportello Start Up </a:t>
              </a:r>
              <a:r>
                <a:rPr lang="en-US" dirty="0">
                  <a:solidFill>
                    <a:schemeClr val="bg1"/>
                  </a:solidFill>
                  <a:latin typeface="Open Sans Bold"/>
                </a:rPr>
                <a:t>SUPPORTO</a:t>
              </a:r>
            </a:p>
            <a:p>
              <a:pPr>
                <a:lnSpc>
                  <a:spcPts val="1391"/>
                </a:lnSpc>
              </a:pP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per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aiutare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in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ogni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fase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i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neo-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imprenditori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ad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avviare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un'attività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di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successo</a:t>
              </a:r>
              <a:endParaRPr lang="en-US" b="0" dirty="0">
                <a:solidFill>
                  <a:schemeClr val="bg1"/>
                </a:solidFill>
                <a:latin typeface="Open Sans"/>
              </a:endParaRPr>
            </a:p>
          </p:txBody>
        </p:sp>
        <p:pic>
          <p:nvPicPr>
            <p:cNvPr id="83" name="Picture 22">
              <a:extLst>
                <a:ext uri="{FF2B5EF4-FFF2-40B4-BE49-F238E27FC236}">
                  <a16:creationId xmlns:a16="http://schemas.microsoft.com/office/drawing/2014/main" id="{546AB9B0-E6B4-07ED-4F59-6E9A62BC48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rcRect/>
            <a:stretch>
              <a:fillRect/>
            </a:stretch>
          </p:blipFill>
          <p:spPr>
            <a:xfrm>
              <a:off x="666609" y="4731274"/>
              <a:ext cx="599018" cy="599018"/>
            </a:xfrm>
            <a:prstGeom prst="rect">
              <a:avLst/>
            </a:prstGeom>
          </p:spPr>
        </p:pic>
      </p:grpSp>
      <p:grpSp>
        <p:nvGrpSpPr>
          <p:cNvPr id="86" name="Gruppo 85">
            <a:extLst>
              <a:ext uri="{FF2B5EF4-FFF2-40B4-BE49-F238E27FC236}">
                <a16:creationId xmlns:a16="http://schemas.microsoft.com/office/drawing/2014/main" id="{20A0B587-0FCE-A723-C7F6-C918214FA721}"/>
              </a:ext>
            </a:extLst>
          </p:cNvPr>
          <p:cNvGrpSpPr/>
          <p:nvPr/>
        </p:nvGrpSpPr>
        <p:grpSpPr>
          <a:xfrm>
            <a:off x="339541" y="1216233"/>
            <a:ext cx="10334096" cy="893997"/>
            <a:chOff x="339541" y="1626538"/>
            <a:chExt cx="10334096" cy="893997"/>
          </a:xfrm>
        </p:grpSpPr>
        <p:grpSp>
          <p:nvGrpSpPr>
            <p:cNvPr id="87" name="Group 24">
              <a:extLst>
                <a:ext uri="{FF2B5EF4-FFF2-40B4-BE49-F238E27FC236}">
                  <a16:creationId xmlns:a16="http://schemas.microsoft.com/office/drawing/2014/main" id="{15D028FA-E494-0026-51DC-2E2E1E4572D3}"/>
                </a:ext>
              </a:extLst>
            </p:cNvPr>
            <p:cNvGrpSpPr/>
            <p:nvPr/>
          </p:nvGrpSpPr>
          <p:grpSpPr>
            <a:xfrm>
              <a:off x="339541" y="1626538"/>
              <a:ext cx="10334096" cy="717975"/>
              <a:chOff x="0" y="0"/>
              <a:chExt cx="1424923" cy="1653611"/>
            </a:xfrm>
          </p:grpSpPr>
          <p:sp>
            <p:nvSpPr>
              <p:cNvPr id="90" name="Freeform 25">
                <a:extLst>
                  <a:ext uri="{FF2B5EF4-FFF2-40B4-BE49-F238E27FC236}">
                    <a16:creationId xmlns:a16="http://schemas.microsoft.com/office/drawing/2014/main" id="{1793ED17-8EE7-D448-4B06-C8D6A00927BB}"/>
                  </a:ext>
                </a:extLst>
              </p:cNvPr>
              <p:cNvSpPr/>
              <p:nvPr/>
            </p:nvSpPr>
            <p:spPr>
              <a:xfrm>
                <a:off x="0" y="0"/>
                <a:ext cx="1424923" cy="1653611"/>
              </a:xfrm>
              <a:custGeom>
                <a:avLst/>
                <a:gdLst/>
                <a:ahLst/>
                <a:cxnLst/>
                <a:rect l="l" t="t" r="r" b="b"/>
                <a:pathLst>
                  <a:path w="1424923" h="1653611">
                    <a:moveTo>
                      <a:pt x="0" y="0"/>
                    </a:moveTo>
                    <a:lnTo>
                      <a:pt x="1424923" y="0"/>
                    </a:lnTo>
                    <a:lnTo>
                      <a:pt x="1424923" y="1653611"/>
                    </a:lnTo>
                    <a:lnTo>
                      <a:pt x="0" y="1653611"/>
                    </a:lnTo>
                    <a:close/>
                  </a:path>
                </a:pathLst>
              </a:custGeom>
              <a:solidFill>
                <a:srgbClr val="009CB4"/>
              </a:solidFill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91" name="TextBox 26">
                <a:extLst>
                  <a:ext uri="{FF2B5EF4-FFF2-40B4-BE49-F238E27FC236}">
                    <a16:creationId xmlns:a16="http://schemas.microsoft.com/office/drawing/2014/main" id="{71665389-C4D6-4CC6-E942-38627A285394}"/>
                  </a:ext>
                </a:extLst>
              </p:cNvPr>
              <p:cNvSpPr txBox="1"/>
              <p:nvPr/>
            </p:nvSpPr>
            <p:spPr>
              <a:xfrm>
                <a:off x="0" y="19050"/>
                <a:ext cx="812800" cy="7937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114"/>
                  </a:lnSpc>
                </a:pPr>
                <a:endParaRPr/>
              </a:p>
            </p:txBody>
          </p:sp>
        </p:grpSp>
        <p:pic>
          <p:nvPicPr>
            <p:cNvPr id="88" name="Picture 35">
              <a:extLst>
                <a:ext uri="{FF2B5EF4-FFF2-40B4-BE49-F238E27FC236}">
                  <a16:creationId xmlns:a16="http://schemas.microsoft.com/office/drawing/2014/main" id="{22CA6AD6-589B-B03C-EB45-6DE17BA0D7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rcRect/>
            <a:stretch>
              <a:fillRect/>
            </a:stretch>
          </p:blipFill>
          <p:spPr>
            <a:xfrm>
              <a:off x="657345" y="1648268"/>
              <a:ext cx="617546" cy="629862"/>
            </a:xfrm>
            <a:prstGeom prst="rect">
              <a:avLst/>
            </a:prstGeom>
          </p:spPr>
        </p:pic>
        <p:sp>
          <p:nvSpPr>
            <p:cNvPr id="89" name="TextBox 43">
              <a:extLst>
                <a:ext uri="{FF2B5EF4-FFF2-40B4-BE49-F238E27FC236}">
                  <a16:creationId xmlns:a16="http://schemas.microsoft.com/office/drawing/2014/main" id="{2B16F9AB-B1F2-F012-FCA9-C62B03FC5E6D}"/>
                </a:ext>
              </a:extLst>
            </p:cNvPr>
            <p:cNvSpPr txBox="1"/>
            <p:nvPr/>
          </p:nvSpPr>
          <p:spPr>
            <a:xfrm>
              <a:off x="1852445" y="1739552"/>
              <a:ext cx="8064000" cy="780983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ts val="1821"/>
                </a:lnSpc>
              </a:pPr>
              <a:r>
                <a:rPr lang="en-US" dirty="0" err="1">
                  <a:solidFill>
                    <a:schemeClr val="bg1"/>
                  </a:solidFill>
                  <a:latin typeface="Open Sans"/>
                </a:rPr>
                <a:t>Servizio</a:t>
              </a:r>
              <a:r>
                <a:rPr lang="en-US" dirty="0">
                  <a:solidFill>
                    <a:schemeClr val="bg1"/>
                  </a:solidFill>
                  <a:latin typeface="Open Sans"/>
                </a:rPr>
                <a:t> </a:t>
              </a:r>
              <a:r>
                <a:rPr lang="en-US" dirty="0">
                  <a:solidFill>
                    <a:schemeClr val="bg1"/>
                  </a:solidFill>
                  <a:latin typeface="Open Sans Bold"/>
                </a:rPr>
                <a:t>PAGHE E LAVORO</a:t>
              </a:r>
            </a:p>
            <a:p>
              <a:pPr>
                <a:lnSpc>
                  <a:spcPts val="1507"/>
                </a:lnSpc>
              </a:pP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supporto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normative e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gestionale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per il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personale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dell’azienda</a:t>
              </a:r>
              <a:endParaRPr lang="en-US" b="0" dirty="0">
                <a:solidFill>
                  <a:schemeClr val="bg1"/>
                </a:solidFill>
                <a:latin typeface="Open Sans"/>
              </a:endParaRPr>
            </a:p>
            <a:p>
              <a:pPr algn="l">
                <a:lnSpc>
                  <a:spcPts val="1507"/>
                </a:lnSpc>
              </a:pPr>
              <a:endParaRPr lang="en-US" dirty="0">
                <a:solidFill>
                  <a:schemeClr val="bg1"/>
                </a:solidFill>
                <a:latin typeface="Open Sans"/>
              </a:endParaRPr>
            </a:p>
          </p:txBody>
        </p:sp>
      </p:grpSp>
      <p:grpSp>
        <p:nvGrpSpPr>
          <p:cNvPr id="92" name="Gruppo 91">
            <a:extLst>
              <a:ext uri="{FF2B5EF4-FFF2-40B4-BE49-F238E27FC236}">
                <a16:creationId xmlns:a16="http://schemas.microsoft.com/office/drawing/2014/main" id="{69A7CE7E-A4AD-2F08-1B37-AA5E65761E40}"/>
              </a:ext>
            </a:extLst>
          </p:cNvPr>
          <p:cNvGrpSpPr/>
          <p:nvPr/>
        </p:nvGrpSpPr>
        <p:grpSpPr>
          <a:xfrm>
            <a:off x="336626" y="2643043"/>
            <a:ext cx="10332803" cy="928331"/>
            <a:chOff x="336626" y="2338245"/>
            <a:chExt cx="10338301" cy="928331"/>
          </a:xfrm>
        </p:grpSpPr>
        <p:grpSp>
          <p:nvGrpSpPr>
            <p:cNvPr id="93" name="Group 27">
              <a:extLst>
                <a:ext uri="{FF2B5EF4-FFF2-40B4-BE49-F238E27FC236}">
                  <a16:creationId xmlns:a16="http://schemas.microsoft.com/office/drawing/2014/main" id="{E36947AA-FD06-C347-4F89-A2B56849E270}"/>
                </a:ext>
              </a:extLst>
            </p:cNvPr>
            <p:cNvGrpSpPr/>
            <p:nvPr/>
          </p:nvGrpSpPr>
          <p:grpSpPr>
            <a:xfrm>
              <a:off x="336626" y="2338245"/>
              <a:ext cx="10338301" cy="779490"/>
              <a:chOff x="0" y="0"/>
              <a:chExt cx="1424923" cy="1321168"/>
            </a:xfrm>
          </p:grpSpPr>
          <p:sp>
            <p:nvSpPr>
              <p:cNvPr id="96" name="Freeform 28">
                <a:extLst>
                  <a:ext uri="{FF2B5EF4-FFF2-40B4-BE49-F238E27FC236}">
                    <a16:creationId xmlns:a16="http://schemas.microsoft.com/office/drawing/2014/main" id="{9EE85341-4398-CBF0-DDD9-0B58E4C53778}"/>
                  </a:ext>
                </a:extLst>
              </p:cNvPr>
              <p:cNvSpPr/>
              <p:nvPr/>
            </p:nvSpPr>
            <p:spPr>
              <a:xfrm>
                <a:off x="0" y="0"/>
                <a:ext cx="1424923" cy="1321168"/>
              </a:xfrm>
              <a:custGeom>
                <a:avLst/>
                <a:gdLst/>
                <a:ahLst/>
                <a:cxnLst/>
                <a:rect l="l" t="t" r="r" b="b"/>
                <a:pathLst>
                  <a:path w="1424923" h="1321168">
                    <a:moveTo>
                      <a:pt x="0" y="0"/>
                    </a:moveTo>
                    <a:lnTo>
                      <a:pt x="1424923" y="0"/>
                    </a:lnTo>
                    <a:lnTo>
                      <a:pt x="1424923" y="1321168"/>
                    </a:lnTo>
                    <a:lnTo>
                      <a:pt x="0" y="1321168"/>
                    </a:lnTo>
                    <a:close/>
                  </a:path>
                </a:pathLst>
              </a:custGeom>
              <a:solidFill>
                <a:srgbClr val="035158"/>
              </a:solidFill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97" name="TextBox 29">
                <a:extLst>
                  <a:ext uri="{FF2B5EF4-FFF2-40B4-BE49-F238E27FC236}">
                    <a16:creationId xmlns:a16="http://schemas.microsoft.com/office/drawing/2014/main" id="{50BEC33A-C537-05B2-57EA-3BBBF0611C5F}"/>
                  </a:ext>
                </a:extLst>
              </p:cNvPr>
              <p:cNvSpPr txBox="1"/>
              <p:nvPr/>
            </p:nvSpPr>
            <p:spPr>
              <a:xfrm>
                <a:off x="0" y="19050"/>
                <a:ext cx="812800" cy="7937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114"/>
                  </a:lnSpc>
                </a:pPr>
                <a:endParaRPr/>
              </a:p>
            </p:txBody>
          </p:sp>
        </p:grpSp>
        <p:pic>
          <p:nvPicPr>
            <p:cNvPr id="94" name="Picture 36">
              <a:extLst>
                <a:ext uri="{FF2B5EF4-FFF2-40B4-BE49-F238E27FC236}">
                  <a16:creationId xmlns:a16="http://schemas.microsoft.com/office/drawing/2014/main" id="{B5C4FFC5-B66E-6ACD-03FF-21AE5C5B8DF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rcRect/>
            <a:stretch>
              <a:fillRect/>
            </a:stretch>
          </p:blipFill>
          <p:spPr>
            <a:xfrm>
              <a:off x="700737" y="2474587"/>
              <a:ext cx="530762" cy="544256"/>
            </a:xfrm>
            <a:prstGeom prst="rect">
              <a:avLst/>
            </a:prstGeom>
          </p:spPr>
        </p:pic>
        <p:sp>
          <p:nvSpPr>
            <p:cNvPr id="95" name="TextBox 43">
              <a:extLst>
                <a:ext uri="{FF2B5EF4-FFF2-40B4-BE49-F238E27FC236}">
                  <a16:creationId xmlns:a16="http://schemas.microsoft.com/office/drawing/2014/main" id="{1C4CE8AA-657A-04B2-9AA6-7AB21E6BD9C2}"/>
                </a:ext>
              </a:extLst>
            </p:cNvPr>
            <p:cNvSpPr txBox="1"/>
            <p:nvPr/>
          </p:nvSpPr>
          <p:spPr>
            <a:xfrm>
              <a:off x="1852445" y="2447121"/>
              <a:ext cx="8641554" cy="819455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ts val="1821"/>
                </a:lnSpc>
              </a:pPr>
              <a:r>
                <a:rPr lang="en-US" dirty="0" err="1">
                  <a:solidFill>
                    <a:schemeClr val="bg1"/>
                  </a:solidFill>
                  <a:latin typeface="Open Sans"/>
                </a:rPr>
                <a:t>Servizio</a:t>
              </a:r>
              <a:r>
                <a:rPr lang="en-US" dirty="0">
                  <a:solidFill>
                    <a:schemeClr val="bg1"/>
                  </a:solidFill>
                  <a:latin typeface="Open Sans"/>
                </a:rPr>
                <a:t> </a:t>
              </a:r>
              <a:r>
                <a:rPr lang="en-US" dirty="0">
                  <a:solidFill>
                    <a:schemeClr val="bg1"/>
                  </a:solidFill>
                  <a:latin typeface="Open Sans Bold"/>
                </a:rPr>
                <a:t>CONTABILITA’ E FISCALE</a:t>
              </a:r>
            </a:p>
            <a:p>
              <a:pPr>
                <a:lnSpc>
                  <a:spcPts val="1821"/>
                </a:lnSpc>
              </a:pP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assistenza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e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consulenza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in base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alla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tipologia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di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azienda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/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società</a:t>
              </a:r>
              <a:endParaRPr lang="en-US" b="0" dirty="0">
                <a:solidFill>
                  <a:schemeClr val="bg1"/>
                </a:solidFill>
                <a:latin typeface="Open Sans"/>
              </a:endParaRPr>
            </a:p>
            <a:p>
              <a:pPr algn="l">
                <a:lnSpc>
                  <a:spcPts val="1507"/>
                </a:lnSpc>
              </a:pPr>
              <a:endParaRPr lang="en-US" dirty="0">
                <a:solidFill>
                  <a:schemeClr val="bg1"/>
                </a:solidFill>
                <a:latin typeface="Open Sans"/>
              </a:endParaRPr>
            </a:p>
          </p:txBody>
        </p:sp>
      </p:grpSp>
      <p:grpSp>
        <p:nvGrpSpPr>
          <p:cNvPr id="101" name="Gruppo 100">
            <a:extLst>
              <a:ext uri="{FF2B5EF4-FFF2-40B4-BE49-F238E27FC236}">
                <a16:creationId xmlns:a16="http://schemas.microsoft.com/office/drawing/2014/main" id="{E37FD626-7BFD-BEA2-15D7-72B5AFC9608F}"/>
              </a:ext>
            </a:extLst>
          </p:cNvPr>
          <p:cNvGrpSpPr/>
          <p:nvPr/>
        </p:nvGrpSpPr>
        <p:grpSpPr>
          <a:xfrm>
            <a:off x="348037" y="4191482"/>
            <a:ext cx="10321392" cy="1745051"/>
            <a:chOff x="335336" y="3872031"/>
            <a:chExt cx="10338301" cy="1745051"/>
          </a:xfrm>
        </p:grpSpPr>
        <p:grpSp>
          <p:nvGrpSpPr>
            <p:cNvPr id="102" name="Group 11">
              <a:extLst>
                <a:ext uri="{FF2B5EF4-FFF2-40B4-BE49-F238E27FC236}">
                  <a16:creationId xmlns:a16="http://schemas.microsoft.com/office/drawing/2014/main" id="{2F0291AE-1DB4-15D2-24CD-BD9A5F36B984}"/>
                </a:ext>
              </a:extLst>
            </p:cNvPr>
            <p:cNvGrpSpPr>
              <a:grpSpLocks/>
            </p:cNvGrpSpPr>
            <p:nvPr/>
          </p:nvGrpSpPr>
          <p:grpSpPr>
            <a:xfrm>
              <a:off x="335336" y="3872031"/>
              <a:ext cx="10338301" cy="1745051"/>
              <a:chOff x="0" y="-8639"/>
              <a:chExt cx="1308943" cy="821439"/>
            </a:xfrm>
          </p:grpSpPr>
          <p:sp>
            <p:nvSpPr>
              <p:cNvPr id="105" name="Freeform 12">
                <a:extLst>
                  <a:ext uri="{FF2B5EF4-FFF2-40B4-BE49-F238E27FC236}">
                    <a16:creationId xmlns:a16="http://schemas.microsoft.com/office/drawing/2014/main" id="{9F7F870E-8064-C6BE-B08D-18BCC6AF11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0" y="-8639"/>
                <a:ext cx="1308943" cy="358692"/>
              </a:xfrm>
              <a:custGeom>
                <a:avLst/>
                <a:gdLst/>
                <a:ahLst/>
                <a:cxnLst/>
                <a:rect l="l" t="t" r="r" b="b"/>
                <a:pathLst>
                  <a:path w="1308943" h="471745">
                    <a:moveTo>
                      <a:pt x="0" y="0"/>
                    </a:moveTo>
                    <a:lnTo>
                      <a:pt x="1308943" y="0"/>
                    </a:lnTo>
                    <a:lnTo>
                      <a:pt x="1308943" y="471745"/>
                    </a:lnTo>
                    <a:lnTo>
                      <a:pt x="0" y="471745"/>
                    </a:lnTo>
                    <a:close/>
                  </a:path>
                </a:pathLst>
              </a:custGeom>
              <a:solidFill>
                <a:srgbClr val="FEB000"/>
              </a:solidFill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06" name="TextBox 13">
                <a:extLst>
                  <a:ext uri="{FF2B5EF4-FFF2-40B4-BE49-F238E27FC236}">
                    <a16:creationId xmlns:a16="http://schemas.microsoft.com/office/drawing/2014/main" id="{3AB21B8E-25AD-E360-42F7-77F4FF55FE1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0" y="19050"/>
                <a:ext cx="812800" cy="7937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114"/>
                  </a:lnSpc>
                </a:pPr>
                <a:endParaRPr/>
              </a:p>
            </p:txBody>
          </p:sp>
        </p:grpSp>
        <p:sp>
          <p:nvSpPr>
            <p:cNvPr id="103" name="TextBox 15">
              <a:extLst>
                <a:ext uri="{FF2B5EF4-FFF2-40B4-BE49-F238E27FC236}">
                  <a16:creationId xmlns:a16="http://schemas.microsoft.com/office/drawing/2014/main" id="{EB550A6A-752C-39C4-FBC2-4C359C2CF28D}"/>
                </a:ext>
              </a:extLst>
            </p:cNvPr>
            <p:cNvSpPr txBox="1">
              <a:spLocks/>
            </p:cNvSpPr>
            <p:nvPr/>
          </p:nvSpPr>
          <p:spPr>
            <a:xfrm>
              <a:off x="1852445" y="4017517"/>
              <a:ext cx="8537479" cy="50206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ts val="1821"/>
                </a:lnSpc>
              </a:pPr>
              <a:r>
                <a:rPr lang="en-US" dirty="0">
                  <a:solidFill>
                    <a:schemeClr val="bg1"/>
                  </a:solidFill>
                  <a:latin typeface="Open Sans"/>
                </a:rPr>
                <a:t>Sportello </a:t>
              </a:r>
              <a:r>
                <a:rPr lang="en-US" dirty="0" err="1">
                  <a:solidFill>
                    <a:schemeClr val="bg1"/>
                  </a:solidFill>
                  <a:latin typeface="Open Sans"/>
                </a:rPr>
                <a:t>Sicurezza</a:t>
              </a:r>
              <a:r>
                <a:rPr lang="en-US" dirty="0">
                  <a:solidFill>
                    <a:schemeClr val="bg1"/>
                  </a:solidFill>
                  <a:latin typeface="Open Sans"/>
                </a:rPr>
                <a:t> </a:t>
              </a:r>
              <a:r>
                <a:rPr lang="en-US" dirty="0">
                  <a:solidFill>
                    <a:schemeClr val="bg1"/>
                  </a:solidFill>
                  <a:latin typeface="Open Sans Bold"/>
                </a:rPr>
                <a:t>ZERO PENSIERI</a:t>
              </a:r>
            </a:p>
            <a:p>
              <a:pPr>
                <a:lnSpc>
                  <a:spcPts val="1391"/>
                </a:lnSpc>
              </a:pP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unica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soluzione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per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adempimenti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di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sicurezza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sul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lavoro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e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igiene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degli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alimenti</a:t>
              </a:r>
              <a:endParaRPr lang="en-US" b="0" dirty="0">
                <a:solidFill>
                  <a:schemeClr val="bg1"/>
                </a:solidFill>
                <a:latin typeface="Open Sans"/>
              </a:endParaRPr>
            </a:p>
          </p:txBody>
        </p:sp>
        <p:pic>
          <p:nvPicPr>
            <p:cNvPr id="104" name="Picture 23">
              <a:extLst>
                <a:ext uri="{FF2B5EF4-FFF2-40B4-BE49-F238E27FC236}">
                  <a16:creationId xmlns:a16="http://schemas.microsoft.com/office/drawing/2014/main" id="{FD008283-709C-A2B6-C2D0-8236ECCC97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rcRect/>
            <a:stretch>
              <a:fillRect/>
            </a:stretch>
          </p:blipFill>
          <p:spPr>
            <a:xfrm>
              <a:off x="738961" y="3922682"/>
              <a:ext cx="454315" cy="606311"/>
            </a:xfrm>
            <a:prstGeom prst="rect">
              <a:avLst/>
            </a:prstGeom>
          </p:spPr>
        </p:pic>
      </p:grpSp>
      <p:grpSp>
        <p:nvGrpSpPr>
          <p:cNvPr id="9" name="Gruppo 8">
            <a:extLst>
              <a:ext uri="{FF2B5EF4-FFF2-40B4-BE49-F238E27FC236}">
                <a16:creationId xmlns:a16="http://schemas.microsoft.com/office/drawing/2014/main" id="{03FB1A6D-6F01-6484-4FBE-A29B2479E595}"/>
              </a:ext>
            </a:extLst>
          </p:cNvPr>
          <p:cNvGrpSpPr/>
          <p:nvPr/>
        </p:nvGrpSpPr>
        <p:grpSpPr>
          <a:xfrm>
            <a:off x="348033" y="5780451"/>
            <a:ext cx="10334096" cy="677475"/>
            <a:chOff x="335333" y="5448300"/>
            <a:chExt cx="10334096" cy="677475"/>
          </a:xfrm>
        </p:grpSpPr>
        <p:grpSp>
          <p:nvGrpSpPr>
            <p:cNvPr id="98" name="Gruppo 97">
              <a:extLst>
                <a:ext uri="{FF2B5EF4-FFF2-40B4-BE49-F238E27FC236}">
                  <a16:creationId xmlns:a16="http://schemas.microsoft.com/office/drawing/2014/main" id="{E8C80A91-2701-987E-321D-F3347F814674}"/>
                </a:ext>
              </a:extLst>
            </p:cNvPr>
            <p:cNvGrpSpPr/>
            <p:nvPr/>
          </p:nvGrpSpPr>
          <p:grpSpPr>
            <a:xfrm>
              <a:off x="335333" y="5501555"/>
              <a:ext cx="8210698" cy="603772"/>
              <a:chOff x="335333" y="5512441"/>
              <a:chExt cx="8210698" cy="603772"/>
            </a:xfrm>
          </p:grpSpPr>
          <p:sp>
            <p:nvSpPr>
              <p:cNvPr id="99" name="Textplatzhalter 2">
                <a:extLst>
                  <a:ext uri="{FF2B5EF4-FFF2-40B4-BE49-F238E27FC236}">
                    <a16:creationId xmlns:a16="http://schemas.microsoft.com/office/drawing/2014/main" id="{5D4FA25E-6AF1-E5D1-88AF-20A7C3F62F0A}"/>
                  </a:ext>
                </a:extLst>
              </p:cNvPr>
              <p:cNvSpPr txBox="1">
                <a:spLocks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482031" y="5527763"/>
                <a:ext cx="8064000" cy="576000"/>
              </a:xfrm>
              <a:prstGeom prst="rect">
                <a:avLst/>
              </a:prstGeom>
              <a:noFill/>
            </p:spPr>
            <p:txBody>
              <a:bodyPr vert="horz" lIns="0" tIns="0" rIns="0" bIns="0" rtlCol="0" anchor="ctr" anchorCtr="0">
                <a:noAutofit/>
              </a:bodyPr>
              <a:lstStyle>
                <a:lvl1pPr marL="0" indent="0" algn="l" defTabSz="914377" rtl="0" eaLnBrk="1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None/>
                  <a:defRPr sz="1800" b="0" kern="1200">
                    <a:solidFill>
                      <a:schemeClr val="tx1"/>
                    </a:solidFill>
                    <a:latin typeface="Lidl Font Pro Semibold" panose="02000000000000000000" pitchFamily="2" charset="0"/>
                    <a:ea typeface="+mn-ea"/>
                    <a:cs typeface="+mn-cs"/>
                  </a:defRPr>
                </a:lvl1pPr>
                <a:lvl2pPr marL="0" indent="0" algn="l" defTabSz="914377" rtl="0" eaLnBrk="1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None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16000" indent="-216000" algn="l" defTabSz="914377" rtl="0" eaLnBrk="1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431989" indent="-216000" algn="l" defTabSz="914377" rtl="0" eaLnBrk="1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Font typeface="Lidl Font Pro" panose="02000000000000000000" pitchFamily="2" charset="0"/>
                  <a:buChar char="−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648000" indent="-216000" algn="l" defTabSz="914377" rtl="0" eaLnBrk="1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Font typeface="Lidl Font Pro" panose="02000000000000000000" pitchFamily="2" charset="0"/>
                  <a:buChar char="−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864000" indent="-216000" algn="l" defTabSz="914377" rtl="0" eaLnBrk="1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Font typeface="Lidl Font Pro" panose="02000000000000000000" pitchFamily="2" charset="0"/>
                  <a:buChar char="−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864000" indent="-216000" algn="l" defTabSz="914377" rtl="0" eaLnBrk="1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Font typeface="Lidl Font Pro" panose="02000000000000000000" pitchFamily="2" charset="0"/>
                  <a:buChar char="−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864000" indent="-216000" algn="l" defTabSz="914377" rtl="0" eaLnBrk="1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Font typeface="Lidl Font Pro" panose="02000000000000000000" pitchFamily="2" charset="0"/>
                  <a:buChar char="−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864000" indent="-216000" algn="l" defTabSz="914377" rtl="0" eaLnBrk="1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Font typeface="Lidl Font Pro" panose="02000000000000000000" pitchFamily="2" charset="0"/>
                  <a:buChar char="−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1">
                  <a:lnSpc>
                    <a:spcPct val="110000"/>
                  </a:lnSpc>
                  <a:spcAft>
                    <a:spcPts val="600"/>
                  </a:spcAft>
                </a:pPr>
                <a:r>
                  <a:rPr lang="it-IT" dirty="0"/>
                  <a:t>                          </a:t>
                </a:r>
                <a:r>
                  <a:rPr lang="it-IT" b="1" dirty="0"/>
                  <a:t>Accesso facilitato al credito</a:t>
                </a:r>
                <a:r>
                  <a:rPr lang="it-IT" dirty="0"/>
                  <a:t>, garanzia fino all’80% del capitale erogato</a:t>
                </a:r>
              </a:p>
            </p:txBody>
          </p:sp>
          <p:pic>
            <p:nvPicPr>
              <p:cNvPr id="100" name="Immagine 99" descr="Immagine che contiene logo&#10;&#10;Descrizione generata automaticamente">
                <a:extLst>
                  <a:ext uri="{FF2B5EF4-FFF2-40B4-BE49-F238E27FC236}">
                    <a16:creationId xmlns:a16="http://schemas.microsoft.com/office/drawing/2014/main" id="{870541A5-83E9-0CC3-0D7D-B5DDAFF0B1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5333" y="5512441"/>
                <a:ext cx="1461529" cy="603772"/>
              </a:xfrm>
              <a:prstGeom prst="rect">
                <a:avLst/>
              </a:prstGeom>
            </p:spPr>
          </p:pic>
        </p:grpSp>
        <p:sp>
          <p:nvSpPr>
            <p:cNvPr id="6" name="Rettangolo 5">
              <a:extLst>
                <a:ext uri="{FF2B5EF4-FFF2-40B4-BE49-F238E27FC236}">
                  <a16:creationId xmlns:a16="http://schemas.microsoft.com/office/drawing/2014/main" id="{762AAAAC-7584-62EC-5DB1-4D4BEDD80804}"/>
                </a:ext>
              </a:extLst>
            </p:cNvPr>
            <p:cNvSpPr/>
            <p:nvPr/>
          </p:nvSpPr>
          <p:spPr bwMode="gray">
            <a:xfrm>
              <a:off x="335333" y="5448300"/>
              <a:ext cx="10334096" cy="677475"/>
            </a:xfrm>
            <a:prstGeom prst="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10" name="Gruppo 9">
            <a:extLst>
              <a:ext uri="{FF2B5EF4-FFF2-40B4-BE49-F238E27FC236}">
                <a16:creationId xmlns:a16="http://schemas.microsoft.com/office/drawing/2014/main" id="{54A2F026-2967-F77F-F535-89357F31677E}"/>
              </a:ext>
            </a:extLst>
          </p:cNvPr>
          <p:cNvGrpSpPr/>
          <p:nvPr/>
        </p:nvGrpSpPr>
        <p:grpSpPr>
          <a:xfrm>
            <a:off x="339542" y="1931338"/>
            <a:ext cx="10334096" cy="717975"/>
            <a:chOff x="339541" y="1626538"/>
            <a:chExt cx="10334096" cy="717975"/>
          </a:xfrm>
          <a:solidFill>
            <a:srgbClr val="7030A0"/>
          </a:solidFill>
        </p:grpSpPr>
        <p:grpSp>
          <p:nvGrpSpPr>
            <p:cNvPr id="12" name="Group 24">
              <a:extLst>
                <a:ext uri="{FF2B5EF4-FFF2-40B4-BE49-F238E27FC236}">
                  <a16:creationId xmlns:a16="http://schemas.microsoft.com/office/drawing/2014/main" id="{D0EA89A0-8EF3-D95C-109C-43953D420485}"/>
                </a:ext>
              </a:extLst>
            </p:cNvPr>
            <p:cNvGrpSpPr/>
            <p:nvPr/>
          </p:nvGrpSpPr>
          <p:grpSpPr>
            <a:xfrm>
              <a:off x="339541" y="1626538"/>
              <a:ext cx="10334096" cy="717975"/>
              <a:chOff x="0" y="0"/>
              <a:chExt cx="1424923" cy="1653611"/>
            </a:xfrm>
            <a:grpFill/>
          </p:grpSpPr>
          <p:sp>
            <p:nvSpPr>
              <p:cNvPr id="16" name="Freeform 25">
                <a:extLst>
                  <a:ext uri="{FF2B5EF4-FFF2-40B4-BE49-F238E27FC236}">
                    <a16:creationId xmlns:a16="http://schemas.microsoft.com/office/drawing/2014/main" id="{D50C988F-3B19-5A8F-9478-5AFDE12EAA00}"/>
                  </a:ext>
                </a:extLst>
              </p:cNvPr>
              <p:cNvSpPr/>
              <p:nvPr/>
            </p:nvSpPr>
            <p:spPr>
              <a:xfrm>
                <a:off x="0" y="0"/>
                <a:ext cx="1424923" cy="1653611"/>
              </a:xfrm>
              <a:custGeom>
                <a:avLst/>
                <a:gdLst/>
                <a:ahLst/>
                <a:cxnLst/>
                <a:rect l="l" t="t" r="r" b="b"/>
                <a:pathLst>
                  <a:path w="1424923" h="1653611">
                    <a:moveTo>
                      <a:pt x="0" y="0"/>
                    </a:moveTo>
                    <a:lnTo>
                      <a:pt x="1424923" y="0"/>
                    </a:lnTo>
                    <a:lnTo>
                      <a:pt x="1424923" y="1653611"/>
                    </a:lnTo>
                    <a:lnTo>
                      <a:pt x="0" y="1653611"/>
                    </a:lnTo>
                    <a:close/>
                  </a:path>
                </a:pathLst>
              </a:custGeom>
              <a:grpFill/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7" name="TextBox 26">
                <a:extLst>
                  <a:ext uri="{FF2B5EF4-FFF2-40B4-BE49-F238E27FC236}">
                    <a16:creationId xmlns:a16="http://schemas.microsoft.com/office/drawing/2014/main" id="{FA089BC5-E6D0-FE30-089A-21F536E38072}"/>
                  </a:ext>
                </a:extLst>
              </p:cNvPr>
              <p:cNvSpPr txBox="1"/>
              <p:nvPr/>
            </p:nvSpPr>
            <p:spPr>
              <a:xfrm>
                <a:off x="0" y="19050"/>
                <a:ext cx="812800" cy="793750"/>
              </a:xfrm>
              <a:prstGeom prst="rect">
                <a:avLst/>
              </a:prstGeom>
              <a:grpFill/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1114"/>
                  </a:lnSpc>
                </a:pPr>
                <a:endParaRPr/>
              </a:p>
            </p:txBody>
          </p:sp>
        </p:grpSp>
        <p:sp>
          <p:nvSpPr>
            <p:cNvPr id="15" name="TextBox 43">
              <a:extLst>
                <a:ext uri="{FF2B5EF4-FFF2-40B4-BE49-F238E27FC236}">
                  <a16:creationId xmlns:a16="http://schemas.microsoft.com/office/drawing/2014/main" id="{CF3A9F77-4199-CF1A-8725-3556BDADD0AD}"/>
                </a:ext>
              </a:extLst>
            </p:cNvPr>
            <p:cNvSpPr txBox="1"/>
            <p:nvPr/>
          </p:nvSpPr>
          <p:spPr>
            <a:xfrm>
              <a:off x="1852445" y="1739552"/>
              <a:ext cx="8064000" cy="511679"/>
            </a:xfrm>
            <a:prstGeom prst="rect">
              <a:avLst/>
            </a:prstGeom>
            <a:grp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ts val="1821"/>
                </a:lnSpc>
              </a:pPr>
              <a:r>
                <a:rPr lang="en-US" dirty="0" err="1">
                  <a:solidFill>
                    <a:schemeClr val="bg1"/>
                  </a:solidFill>
                  <a:latin typeface="Open Sans"/>
                </a:rPr>
                <a:t>Servizio</a:t>
              </a:r>
              <a:r>
                <a:rPr lang="en-US" dirty="0">
                  <a:solidFill>
                    <a:schemeClr val="bg1"/>
                  </a:solidFill>
                  <a:latin typeface="Open Sans"/>
                </a:rPr>
                <a:t> </a:t>
              </a:r>
              <a:r>
                <a:rPr lang="en-US" dirty="0">
                  <a:solidFill>
                    <a:schemeClr val="bg1"/>
                  </a:solidFill>
                  <a:latin typeface="Open Sans Bold"/>
                </a:rPr>
                <a:t>RICERCA &amp; SELEZIONE DEL PERSONALE</a:t>
              </a:r>
            </a:p>
            <a:p>
              <a:pPr>
                <a:lnSpc>
                  <a:spcPts val="1507"/>
                </a:lnSpc>
              </a:pP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procuriamo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la persona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giusta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per far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crescere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la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tua</a:t>
              </a:r>
              <a:r>
                <a:rPr lang="en-US" b="0" dirty="0">
                  <a:solidFill>
                    <a:schemeClr val="bg1"/>
                  </a:solidFill>
                  <a:latin typeface="Open Sans"/>
                </a:rPr>
                <a:t> </a:t>
              </a:r>
              <a:r>
                <a:rPr lang="en-US" b="0" dirty="0" err="1">
                  <a:solidFill>
                    <a:schemeClr val="bg1"/>
                  </a:solidFill>
                  <a:latin typeface="Open Sans"/>
                </a:rPr>
                <a:t>azienda</a:t>
              </a:r>
              <a:endParaRPr lang="en-US" b="0" dirty="0">
                <a:solidFill>
                  <a:schemeClr val="bg1"/>
                </a:solidFill>
                <a:latin typeface="Open Sans"/>
              </a:endParaRPr>
            </a:p>
          </p:txBody>
        </p:sp>
      </p:grpSp>
      <p:pic>
        <p:nvPicPr>
          <p:cNvPr id="20" name="Elemento grafico 19" descr="Crescita aziendale con riempimento a tinta unita">
            <a:extLst>
              <a:ext uri="{FF2B5EF4-FFF2-40B4-BE49-F238E27FC236}">
                <a16:creationId xmlns:a16="http://schemas.microsoft.com/office/drawing/2014/main" id="{FF7CB323-0E3B-5C6E-EED1-A3DB4612C9D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13559" y="1876051"/>
            <a:ext cx="817239" cy="817239"/>
          </a:xfrm>
          <a:prstGeom prst="rect">
            <a:avLst/>
          </a:prstGeom>
        </p:spPr>
      </p:pic>
      <p:grpSp>
        <p:nvGrpSpPr>
          <p:cNvPr id="22" name="Gruppo 21">
            <a:extLst>
              <a:ext uri="{FF2B5EF4-FFF2-40B4-BE49-F238E27FC236}">
                <a16:creationId xmlns:a16="http://schemas.microsoft.com/office/drawing/2014/main" id="{2E58AECD-C17F-E90D-C4C0-04033AFF0001}"/>
              </a:ext>
            </a:extLst>
          </p:cNvPr>
          <p:cNvGrpSpPr/>
          <p:nvPr/>
        </p:nvGrpSpPr>
        <p:grpSpPr>
          <a:xfrm>
            <a:off x="10795944" y="1324735"/>
            <a:ext cx="1256941" cy="1998906"/>
            <a:chOff x="10795944" y="1324735"/>
            <a:chExt cx="1256941" cy="1998906"/>
          </a:xfrm>
        </p:grpSpPr>
        <p:sp>
          <p:nvSpPr>
            <p:cNvPr id="46" name="Textplatzhalter 2">
              <a:extLst>
                <a:ext uri="{FF2B5EF4-FFF2-40B4-BE49-F238E27FC236}">
                  <a16:creationId xmlns:a16="http://schemas.microsoft.com/office/drawing/2014/main" id="{B6E6FA0C-4DAF-4B2F-981D-6968C06FA89A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11044833" y="1806965"/>
              <a:ext cx="1008052" cy="996064"/>
            </a:xfrm>
            <a:prstGeom prst="ellipse">
              <a:avLst/>
            </a:prstGeom>
            <a:solidFill>
              <a:schemeClr val="tx2"/>
            </a:solidFill>
          </p:spPr>
          <p:txBody>
            <a:bodyPr vert="horz" lIns="90000" tIns="82800" rIns="90000" bIns="82800" rtlCol="0" anchor="ctr" anchorCtr="0">
              <a:noAutofit/>
            </a:bodyPr>
            <a:lstStyle>
              <a:lvl1pPr marL="0" indent="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1"/>
                  </a:solidFill>
                  <a:latin typeface="Lidl Font Pro Semibold" panose="02000000000000000000" pitchFamily="2" charset="0"/>
                  <a:ea typeface="+mn-ea"/>
                  <a:cs typeface="+mn-cs"/>
                </a:defRPr>
              </a:lvl1pPr>
              <a:lvl2pPr marL="0" indent="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89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48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r>
                <a:rPr lang="it-IT" sz="2000" b="1" dirty="0">
                  <a:solidFill>
                    <a:schemeClr val="bg1"/>
                  </a:solidFill>
                  <a:latin typeface="Lidl Font Pro" panose="02000000000000000000" pitchFamily="2" charset="0"/>
                </a:rPr>
                <a:t>-30%</a:t>
              </a:r>
            </a:p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r>
                <a:rPr lang="it-IT" sz="1200" dirty="0">
                  <a:solidFill>
                    <a:schemeClr val="bg1"/>
                  </a:solidFill>
                  <a:latin typeface="Lidl Font Pro" panose="02000000000000000000" pitchFamily="2" charset="0"/>
                </a:rPr>
                <a:t>Tariffe mercato</a:t>
              </a:r>
            </a:p>
          </p:txBody>
        </p:sp>
        <p:sp>
          <p:nvSpPr>
            <p:cNvPr id="21" name="Parentesi graffa chiusa 20">
              <a:extLst>
                <a:ext uri="{FF2B5EF4-FFF2-40B4-BE49-F238E27FC236}">
                  <a16:creationId xmlns:a16="http://schemas.microsoft.com/office/drawing/2014/main" id="{23676CC1-55A0-6B43-04A2-411B08B672A5}"/>
                </a:ext>
              </a:extLst>
            </p:cNvPr>
            <p:cNvSpPr/>
            <p:nvPr/>
          </p:nvSpPr>
          <p:spPr bwMode="gray">
            <a:xfrm>
              <a:off x="10795944" y="1324735"/>
              <a:ext cx="225646" cy="1998906"/>
            </a:xfrm>
            <a:prstGeom prst="rightBrac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grpSp>
        <p:nvGrpSpPr>
          <p:cNvPr id="27" name="Gruppo 26">
            <a:extLst>
              <a:ext uri="{FF2B5EF4-FFF2-40B4-BE49-F238E27FC236}">
                <a16:creationId xmlns:a16="http://schemas.microsoft.com/office/drawing/2014/main" id="{9DC578AE-985C-FB62-911C-733054EF9CD2}"/>
              </a:ext>
            </a:extLst>
          </p:cNvPr>
          <p:cNvGrpSpPr/>
          <p:nvPr/>
        </p:nvGrpSpPr>
        <p:grpSpPr>
          <a:xfrm>
            <a:off x="10744164" y="3449785"/>
            <a:ext cx="1363875" cy="2330665"/>
            <a:chOff x="10744164" y="3449785"/>
            <a:chExt cx="1363875" cy="2330665"/>
          </a:xfrm>
        </p:grpSpPr>
        <p:sp>
          <p:nvSpPr>
            <p:cNvPr id="54" name="Textplatzhalter 2">
              <a:extLst>
                <a:ext uri="{FF2B5EF4-FFF2-40B4-BE49-F238E27FC236}">
                  <a16:creationId xmlns:a16="http://schemas.microsoft.com/office/drawing/2014/main" id="{10557C1B-D2D4-48C9-8712-CC66C245AF73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11099987" y="4147088"/>
              <a:ext cx="1008052" cy="996064"/>
            </a:xfrm>
            <a:prstGeom prst="ellipse">
              <a:avLst/>
            </a:prstGeom>
            <a:solidFill>
              <a:schemeClr val="tx2"/>
            </a:solidFill>
          </p:spPr>
          <p:txBody>
            <a:bodyPr vert="horz" lIns="90000" tIns="82800" rIns="90000" bIns="82800" rtlCol="0" anchor="ctr" anchorCtr="0">
              <a:noAutofit/>
            </a:bodyPr>
            <a:lstStyle>
              <a:lvl1pPr marL="0" indent="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1"/>
                  </a:solidFill>
                  <a:latin typeface="Lidl Font Pro Semibold" panose="02000000000000000000" pitchFamily="2" charset="0"/>
                  <a:ea typeface="+mn-ea"/>
                  <a:cs typeface="+mn-cs"/>
                </a:defRPr>
              </a:lvl1pPr>
              <a:lvl2pPr marL="0" indent="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89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48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r>
                <a:rPr lang="it-IT" sz="2000" b="1" dirty="0">
                  <a:solidFill>
                    <a:schemeClr val="bg1"/>
                  </a:solidFill>
                  <a:latin typeface="Lidl Font Pro" panose="02000000000000000000" pitchFamily="2" charset="0"/>
                </a:rPr>
                <a:t>-50%</a:t>
              </a:r>
            </a:p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r>
                <a:rPr lang="it-IT" sz="1200" dirty="0">
                  <a:solidFill>
                    <a:schemeClr val="bg1"/>
                  </a:solidFill>
                  <a:latin typeface="Lidl Font Pro" panose="02000000000000000000" pitchFamily="2" charset="0"/>
                </a:rPr>
                <a:t>Tariffe mercato</a:t>
              </a:r>
            </a:p>
          </p:txBody>
        </p:sp>
        <p:sp>
          <p:nvSpPr>
            <p:cNvPr id="24" name="Parentesi graffa chiusa 23">
              <a:extLst>
                <a:ext uri="{FF2B5EF4-FFF2-40B4-BE49-F238E27FC236}">
                  <a16:creationId xmlns:a16="http://schemas.microsoft.com/office/drawing/2014/main" id="{611EEAAC-73BC-49CA-51B1-E54F39D85F0B}"/>
                </a:ext>
              </a:extLst>
            </p:cNvPr>
            <p:cNvSpPr/>
            <p:nvPr/>
          </p:nvSpPr>
          <p:spPr bwMode="gray">
            <a:xfrm>
              <a:off x="10744164" y="3449785"/>
              <a:ext cx="245278" cy="2330665"/>
            </a:xfrm>
            <a:prstGeom prst="rightBrac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</p:spTree>
    <p:extLst>
      <p:ext uri="{BB962C8B-B14F-4D97-AF65-F5344CB8AC3E}">
        <p14:creationId xmlns:p14="http://schemas.microsoft.com/office/powerpoint/2010/main" val="18781780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1D5681-639E-BE64-BE1F-4CC6093138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>
            <a:extLst>
              <a:ext uri="{FF2B5EF4-FFF2-40B4-BE49-F238E27FC236}">
                <a16:creationId xmlns:a16="http://schemas.microsoft.com/office/drawing/2014/main" id="{7F5D6109-90BE-3F5D-9F81-A481E6CD0C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1" name="Objekt 30" hidden="1">
                        <a:extLst>
                          <a:ext uri="{FF2B5EF4-FFF2-40B4-BE49-F238E27FC236}">
                            <a16:creationId xmlns:a16="http://schemas.microsoft.com/office/drawing/2014/main" id="{7F5D6109-90BE-3F5D-9F81-A481E6CD0C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28" hidden="1">
            <a:extLst>
              <a:ext uri="{FF2B5EF4-FFF2-40B4-BE49-F238E27FC236}">
                <a16:creationId xmlns:a16="http://schemas.microsoft.com/office/drawing/2014/main" id="{16435302-84DA-FDCA-39C5-4D39C9CFA3DC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b="1">
              <a:solidFill>
                <a:schemeClr val="bg1"/>
              </a:solidFill>
              <a:latin typeface="Lidl Font Pro" panose="02000000000000000000" pitchFamily="2" charset="0"/>
              <a:ea typeface="+mj-ea"/>
              <a:cs typeface="+mj-cs"/>
              <a:sym typeface="Lidl Font Pro" panose="02000000000000000000" pitchFamily="2" charset="0"/>
            </a:endParaRPr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368386EB-1F92-1021-BB83-7887845E055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76199" y="0"/>
            <a:ext cx="12340242" cy="6860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4776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6">
            <a:extLst>
              <a:ext uri="{FF2B5EF4-FFF2-40B4-BE49-F238E27FC236}">
                <a16:creationId xmlns:a16="http://schemas.microsoft.com/office/drawing/2014/main" id="{85503D14-9ADC-B431-64AD-4C7D1D4642F3}"/>
              </a:ext>
            </a:extLst>
          </p:cNvPr>
          <p:cNvSpPr txBox="1">
            <a:spLocks/>
          </p:cNvSpPr>
          <p:nvPr/>
        </p:nvSpPr>
        <p:spPr>
          <a:xfrm>
            <a:off x="244083" y="4518119"/>
            <a:ext cx="11376000" cy="576000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Aft>
                <a:spcPts val="0"/>
              </a:spcAft>
            </a:pPr>
            <a:r>
              <a:rPr lang="it-IT" sz="5000" dirty="0">
                <a:solidFill>
                  <a:schemeClr val="bg1"/>
                </a:solidFill>
              </a:rPr>
              <a:t>Grazie per l’attenzione!</a:t>
            </a:r>
          </a:p>
        </p:txBody>
      </p:sp>
    </p:spTree>
    <p:extLst>
      <p:ext uri="{BB962C8B-B14F-4D97-AF65-F5344CB8AC3E}">
        <p14:creationId xmlns:p14="http://schemas.microsoft.com/office/powerpoint/2010/main" val="3145613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BEE16BAB-D2B5-464D-8D10-C696351B5B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BEE16BAB-D2B5-464D-8D10-C696351B5B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hteck 18" hidden="1">
            <a:extLst>
              <a:ext uri="{FF2B5EF4-FFF2-40B4-BE49-F238E27FC236}">
                <a16:creationId xmlns:a16="http://schemas.microsoft.com/office/drawing/2014/main" id="{1E263A0D-6D12-4AD1-9486-03BC0B26A110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b="1" dirty="0">
              <a:solidFill>
                <a:schemeClr val="bg1"/>
              </a:solidFill>
              <a:latin typeface="Lidl Font Pro" panose="02000000000000000000" charset="0"/>
              <a:ea typeface="+mj-ea"/>
              <a:cs typeface="+mj-cs"/>
              <a:sym typeface="Lidl Font Pro" panose="02000000000000000000" charset="0"/>
            </a:endParaRPr>
          </a:p>
        </p:txBody>
      </p:sp>
      <p:sp>
        <p:nvSpPr>
          <p:cNvPr id="12" name="Titel 4">
            <a:extLst>
              <a:ext uri="{FF2B5EF4-FFF2-40B4-BE49-F238E27FC236}">
                <a16:creationId xmlns:a16="http://schemas.microsoft.com/office/drawing/2014/main" id="{92DC530C-AE9C-444C-93FF-D2CEDB4A594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5616624" cy="576000"/>
          </a:xfrm>
        </p:spPr>
        <p:txBody>
          <a:bodyPr/>
          <a:lstStyle/>
          <a:p>
            <a:r>
              <a:rPr lang="it-IT" noProof="0" dirty="0"/>
              <a:t>Qualche informazione su di noi...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0594862-6C7F-44FF-B8B3-845E2DAE9AC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 dirty="0"/>
              <a:t>Confcommercio provincia di Cremona</a:t>
            </a:r>
          </a:p>
        </p:txBody>
      </p:sp>
      <p:sp>
        <p:nvSpPr>
          <p:cNvPr id="8" name="Segnaposto testo 7">
            <a:extLst>
              <a:ext uri="{FF2B5EF4-FFF2-40B4-BE49-F238E27FC236}">
                <a16:creationId xmlns:a16="http://schemas.microsoft.com/office/drawing/2014/main" id="{821C7187-2913-4CA9-A441-DB3991F77B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17" name="Datumsplatzhalter 48">
            <a:extLst>
              <a:ext uri="{FF2B5EF4-FFF2-40B4-BE49-F238E27FC236}">
                <a16:creationId xmlns:a16="http://schemas.microsoft.com/office/drawing/2014/main" id="{9AB5675D-1E3C-4884-85F0-5B0A6557D6D2}"/>
              </a:ext>
            </a:extLst>
          </p:cNvPr>
          <p:cNvSpPr txBox="1">
            <a:spLocks/>
          </p:cNvSpPr>
          <p:nvPr/>
        </p:nvSpPr>
        <p:spPr>
          <a:xfrm>
            <a:off x="407987" y="6525368"/>
            <a:ext cx="1061583" cy="216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800" b="0" dirty="0"/>
              <a:t>Gennaio 2024</a:t>
            </a: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90DE2F0B-613C-8FDC-C1BE-10EA853F4EFC}"/>
              </a:ext>
            </a:extLst>
          </p:cNvPr>
          <p:cNvSpPr/>
          <p:nvPr/>
        </p:nvSpPr>
        <p:spPr bwMode="gray">
          <a:xfrm>
            <a:off x="639592" y="5692774"/>
            <a:ext cx="10765467" cy="653597"/>
          </a:xfrm>
          <a:prstGeom prst="rect">
            <a:avLst/>
          </a:prstGeom>
          <a:solidFill>
            <a:srgbClr val="DCE9E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 err="1">
              <a:solidFill>
                <a:schemeClr val="bg1"/>
              </a:solidFill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C7B1C81D-26B0-5F06-6624-F277EF13031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9592" y="1555570"/>
            <a:ext cx="7300593" cy="4153260"/>
          </a:xfrm>
          <a:prstGeom prst="rect">
            <a:avLst/>
          </a:prstGeom>
        </p:spPr>
      </p:pic>
      <p:pic>
        <p:nvPicPr>
          <p:cNvPr id="4" name="Immagine 3">
            <a:extLst>
              <a:ext uri="{FF2B5EF4-FFF2-40B4-BE49-F238E27FC236}">
                <a16:creationId xmlns:a16="http://schemas.microsoft.com/office/drawing/2014/main" id="{241119B9-841C-9512-49D2-76EAB36E3B5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305"/>
          <a:stretch/>
        </p:blipFill>
        <p:spPr>
          <a:xfrm>
            <a:off x="7686185" y="1556364"/>
            <a:ext cx="3718882" cy="4155801"/>
          </a:xfrm>
          <a:prstGeom prst="rect">
            <a:avLst/>
          </a:prstGeom>
        </p:spPr>
      </p:pic>
      <p:sp>
        <p:nvSpPr>
          <p:cNvPr id="6" name="Rettangolo con angoli arrotondati 5">
            <a:extLst>
              <a:ext uri="{FF2B5EF4-FFF2-40B4-BE49-F238E27FC236}">
                <a16:creationId xmlns:a16="http://schemas.microsoft.com/office/drawing/2014/main" id="{B31CD305-4019-59E9-BFAF-644D1E624D95}"/>
              </a:ext>
            </a:extLst>
          </p:cNvPr>
          <p:cNvSpPr/>
          <p:nvPr/>
        </p:nvSpPr>
        <p:spPr bwMode="gray">
          <a:xfrm>
            <a:off x="7182684" y="5836738"/>
            <a:ext cx="1177543" cy="326916"/>
          </a:xfrm>
          <a:prstGeom prst="roundRect">
            <a:avLst/>
          </a:prstGeom>
          <a:solidFill>
            <a:srgbClr val="DCE9EE"/>
          </a:solidFill>
          <a:ln w="25400">
            <a:solidFill>
              <a:srgbClr val="0040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200" dirty="0">
                <a:solidFill>
                  <a:srgbClr val="003C7F"/>
                </a:solidFill>
              </a:rPr>
              <a:t>Cultura</a:t>
            </a:r>
          </a:p>
        </p:txBody>
      </p:sp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4D32F925-01F1-D3A1-A14F-1BEEB4634C3D}"/>
              </a:ext>
            </a:extLst>
          </p:cNvPr>
          <p:cNvCxnSpPr>
            <a:cxnSpLocks/>
          </p:cNvCxnSpPr>
          <p:nvPr/>
        </p:nvCxnSpPr>
        <p:spPr bwMode="gray">
          <a:xfrm>
            <a:off x="7773273" y="4985657"/>
            <a:ext cx="0" cy="851081"/>
          </a:xfrm>
          <a:prstGeom prst="line">
            <a:avLst/>
          </a:prstGeom>
          <a:ln w="28575">
            <a:solidFill>
              <a:srgbClr val="003D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el 4">
            <a:extLst>
              <a:ext uri="{FF2B5EF4-FFF2-40B4-BE49-F238E27FC236}">
                <a16:creationId xmlns:a16="http://schemas.microsoft.com/office/drawing/2014/main" id="{C23F540F-4EF7-3171-9568-0587E0661421}"/>
              </a:ext>
            </a:extLst>
          </p:cNvPr>
          <p:cNvSpPr txBox="1">
            <a:spLocks/>
          </p:cNvSpPr>
          <p:nvPr/>
        </p:nvSpPr>
        <p:spPr bwMode="gray">
          <a:xfrm>
            <a:off x="6922377" y="2013569"/>
            <a:ext cx="5616624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0"/>
              </a:spcAft>
            </a:pPr>
            <a:r>
              <a:rPr lang="it-IT" sz="4000" dirty="0">
                <a:solidFill>
                  <a:schemeClr val="tx1">
                    <a:lumMod val="75000"/>
                  </a:schemeClr>
                </a:solidFill>
              </a:rPr>
              <a:t>700.000 imprese</a:t>
            </a:r>
          </a:p>
          <a:p>
            <a:pPr>
              <a:spcAft>
                <a:spcPts val="0"/>
              </a:spcAft>
            </a:pPr>
            <a:r>
              <a:rPr lang="it-IT" sz="4000" dirty="0">
                <a:solidFill>
                  <a:schemeClr val="tx1">
                    <a:lumMod val="75000"/>
                  </a:schemeClr>
                </a:solidFill>
              </a:rPr>
              <a:t>2.800.000 addetti</a:t>
            </a:r>
          </a:p>
          <a:p>
            <a:pPr>
              <a:spcAft>
                <a:spcPts val="0"/>
              </a:spcAft>
            </a:pPr>
            <a:r>
              <a:rPr lang="it-IT" sz="4000" dirty="0">
                <a:solidFill>
                  <a:schemeClr val="tx1">
                    <a:lumMod val="75000"/>
                  </a:schemeClr>
                </a:solidFill>
              </a:rPr>
              <a:t>100 federazioni</a:t>
            </a:r>
          </a:p>
          <a:p>
            <a:pPr>
              <a:spcAft>
                <a:spcPts val="0"/>
              </a:spcAft>
            </a:pPr>
            <a:r>
              <a:rPr lang="it-IT" sz="4000" dirty="0">
                <a:solidFill>
                  <a:schemeClr val="tx1">
                    <a:lumMod val="75000"/>
                  </a:schemeClr>
                </a:solidFill>
              </a:rPr>
              <a:t>88 sedi provinciali</a:t>
            </a:r>
          </a:p>
        </p:txBody>
      </p:sp>
      <p:sp>
        <p:nvSpPr>
          <p:cNvPr id="14" name="Rettangolo con angoli arrotondati 13">
            <a:extLst>
              <a:ext uri="{FF2B5EF4-FFF2-40B4-BE49-F238E27FC236}">
                <a16:creationId xmlns:a16="http://schemas.microsoft.com/office/drawing/2014/main" id="{91C24489-B8D6-0FB8-C078-45BE0114EC48}"/>
              </a:ext>
            </a:extLst>
          </p:cNvPr>
          <p:cNvSpPr/>
          <p:nvPr/>
        </p:nvSpPr>
        <p:spPr bwMode="gray">
          <a:xfrm>
            <a:off x="9011484" y="5825016"/>
            <a:ext cx="1177543" cy="326916"/>
          </a:xfrm>
          <a:prstGeom prst="roundRect">
            <a:avLst/>
          </a:prstGeom>
          <a:solidFill>
            <a:srgbClr val="DCE9EE"/>
          </a:solidFill>
          <a:ln w="25400">
            <a:solidFill>
              <a:srgbClr val="0040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200" dirty="0">
                <a:solidFill>
                  <a:srgbClr val="003C7F"/>
                </a:solidFill>
              </a:rPr>
              <a:t>Sport</a:t>
            </a:r>
          </a:p>
        </p:txBody>
      </p:sp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6382C233-DC43-85B7-2FAD-1A0F3CFAB4DA}"/>
              </a:ext>
            </a:extLst>
          </p:cNvPr>
          <p:cNvCxnSpPr>
            <a:cxnSpLocks/>
          </p:cNvCxnSpPr>
          <p:nvPr/>
        </p:nvCxnSpPr>
        <p:spPr bwMode="gray">
          <a:xfrm>
            <a:off x="9602073" y="4973935"/>
            <a:ext cx="0" cy="851081"/>
          </a:xfrm>
          <a:prstGeom prst="line">
            <a:avLst/>
          </a:prstGeom>
          <a:ln w="28575">
            <a:solidFill>
              <a:srgbClr val="003D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15920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iekt 16" hidden="1">
            <a:extLst>
              <a:ext uri="{FF2B5EF4-FFF2-40B4-BE49-F238E27FC236}">
                <a16:creationId xmlns:a16="http://schemas.microsoft.com/office/drawing/2014/main" id="{B23FA7E7-0FE7-433C-A11F-20E2305C5A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415" imgH="416" progId="TCLayout.ActiveDocument.1">
                  <p:embed/>
                </p:oleObj>
              </mc:Choice>
              <mc:Fallback>
                <p:oleObj name="think-cell Folie" r:id="rId9" imgW="415" imgH="416" progId="TCLayout.ActiveDocument.1">
                  <p:embed/>
                  <p:pic>
                    <p:nvPicPr>
                      <p:cNvPr id="17" name="Obiekt 16" hidden="1">
                        <a:extLst>
                          <a:ext uri="{FF2B5EF4-FFF2-40B4-BE49-F238E27FC236}">
                            <a16:creationId xmlns:a16="http://schemas.microsoft.com/office/drawing/2014/main" id="{B23FA7E7-0FE7-433C-A11F-20E2305C5A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ytuł 20">
            <a:extLst>
              <a:ext uri="{FF2B5EF4-FFF2-40B4-BE49-F238E27FC236}">
                <a16:creationId xmlns:a16="http://schemas.microsoft.com/office/drawing/2014/main" id="{5B1AEF57-42CD-4BE0-94DB-2533B01229D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</p:spPr>
        <p:txBody>
          <a:bodyPr vert="horz"/>
          <a:lstStyle/>
          <a:p>
            <a:r>
              <a:rPr lang="it-IT" noProof="0" dirty="0"/>
              <a:t>Confcommercio Provincia di Cremona dal 1947</a:t>
            </a:r>
          </a:p>
        </p:txBody>
      </p:sp>
      <p:sp>
        <p:nvSpPr>
          <p:cNvPr id="23" name="Symbol zastępczy tekstu 22">
            <a:extLst>
              <a:ext uri="{FF2B5EF4-FFF2-40B4-BE49-F238E27FC236}">
                <a16:creationId xmlns:a16="http://schemas.microsoft.com/office/drawing/2014/main" id="{3E4FED36-C880-403F-AB9F-A44991BFC4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08632" y="404696"/>
            <a:ext cx="11376000" cy="288000"/>
          </a:xfrm>
        </p:spPr>
        <p:txBody>
          <a:bodyPr/>
          <a:lstStyle/>
          <a:p>
            <a:endParaRPr lang="it-IT" noProof="0" dirty="0"/>
          </a:p>
        </p:txBody>
      </p:sp>
      <p:sp>
        <p:nvSpPr>
          <p:cNvPr id="24" name="Symbol zastępczy tekstu 23">
            <a:extLst>
              <a:ext uri="{FF2B5EF4-FFF2-40B4-BE49-F238E27FC236}">
                <a16:creationId xmlns:a16="http://schemas.microsoft.com/office/drawing/2014/main" id="{6C39F10B-5312-4DDB-9658-2577A5AA94FE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2"/>
            </p:custDataLst>
          </p:nvPr>
        </p:nvSpPr>
        <p:spPr bwMode="gray">
          <a:xfrm>
            <a:off x="407368" y="1520788"/>
            <a:ext cx="2448632" cy="576000"/>
          </a:xfrm>
        </p:spPr>
        <p:txBody>
          <a:bodyPr/>
          <a:lstStyle/>
          <a:p>
            <a:r>
              <a:rPr lang="it-IT" noProof="0" dirty="0"/>
              <a:t>I nostri numeri</a:t>
            </a:r>
          </a:p>
        </p:txBody>
      </p:sp>
      <p:sp>
        <p:nvSpPr>
          <p:cNvPr id="49" name="Datumsplatzhalter 48">
            <a:extLst>
              <a:ext uri="{FF2B5EF4-FFF2-40B4-BE49-F238E27FC236}">
                <a16:creationId xmlns:a16="http://schemas.microsoft.com/office/drawing/2014/main" id="{A55F7201-9A2A-42A5-91AA-EAA5F9344642}"/>
              </a:ext>
            </a:extLst>
          </p:cNvPr>
          <p:cNvSpPr>
            <a:spLocks noGrp="1"/>
          </p:cNvSpPr>
          <p:nvPr>
            <p:ph type="dt" sz="half" idx="30"/>
          </p:nvPr>
        </p:nvSpPr>
        <p:spPr>
          <a:xfrm>
            <a:off x="407988" y="6525368"/>
            <a:ext cx="864000" cy="216000"/>
          </a:xfrm>
        </p:spPr>
        <p:txBody>
          <a:bodyPr/>
          <a:lstStyle/>
          <a:p>
            <a:r>
              <a:rPr lang="it-IT" sz="900" dirty="0"/>
              <a:t>Gennaio 2024</a:t>
            </a:r>
          </a:p>
        </p:txBody>
      </p:sp>
      <p:sp>
        <p:nvSpPr>
          <p:cNvPr id="50" name="Fußzeilenplatzhalter 49">
            <a:extLst>
              <a:ext uri="{FF2B5EF4-FFF2-40B4-BE49-F238E27FC236}">
                <a16:creationId xmlns:a16="http://schemas.microsoft.com/office/drawing/2014/main" id="{23F53CA9-9F9F-4690-BFA8-76E1B34C7144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>
          <a:xfrm>
            <a:off x="1631376" y="6525368"/>
            <a:ext cx="5616624" cy="216000"/>
          </a:xfrm>
        </p:spPr>
        <p:txBody>
          <a:bodyPr/>
          <a:lstStyle/>
          <a:p>
            <a:r>
              <a:rPr lang="it-IT" dirty="0"/>
              <a:t>Confcommercio provincia di Cremona</a:t>
            </a:r>
          </a:p>
        </p:txBody>
      </p:sp>
      <p:sp>
        <p:nvSpPr>
          <p:cNvPr id="51" name="Foliennummernplatzhalter 50">
            <a:extLst>
              <a:ext uri="{FF2B5EF4-FFF2-40B4-BE49-F238E27FC236}">
                <a16:creationId xmlns:a16="http://schemas.microsoft.com/office/drawing/2014/main" id="{32A03594-6652-48CB-B5B0-5A8FFDC1F515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>
          <a:xfrm>
            <a:off x="11424013" y="6525368"/>
            <a:ext cx="360000" cy="216000"/>
          </a:xfrm>
        </p:spPr>
        <p:txBody>
          <a:bodyPr/>
          <a:lstStyle/>
          <a:p>
            <a:fld id="{8CFDFCC3-8B40-4EE5-B231-005F2F1C6A68}" type="slidenum">
              <a:rPr lang="it-IT" smtClean="0"/>
              <a:pPr/>
              <a:t>3</a:t>
            </a:fld>
            <a:endParaRPr lang="it-IT"/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1F55BD8E-D223-4B2A-ABD5-D1C17CD05F1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407368" y="2067330"/>
            <a:ext cx="4715114" cy="1293388"/>
          </a:xfrm>
          <a:prstGeom prst="homePlate">
            <a:avLst>
              <a:gd name="adj" fmla="val 28868"/>
            </a:avLst>
          </a:prstGeom>
          <a:solidFill>
            <a:srgbClr val="003565"/>
          </a:solidFill>
        </p:spPr>
        <p:txBody>
          <a:bodyPr vert="horz" lIns="0" tIns="82800" rIns="0" bIns="8280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Lidl Font Pro Semibold" panose="02000000000000000000" pitchFamily="2" charset="0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989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0050">
              <a:lnSpc>
                <a:spcPct val="110000"/>
              </a:lnSpc>
              <a:spcAft>
                <a:spcPts val="600"/>
              </a:spcAft>
            </a:pPr>
            <a:r>
              <a:rPr lang="it-IT" b="1" dirty="0">
                <a:solidFill>
                  <a:schemeClr val="bg1"/>
                </a:solidFill>
                <a:latin typeface="+mj-lt"/>
              </a:rPr>
              <a:t>Oltre 1.500 associati</a:t>
            </a:r>
          </a:p>
          <a:p>
            <a:pPr marL="400050">
              <a:lnSpc>
                <a:spcPct val="110000"/>
              </a:lnSpc>
              <a:spcAft>
                <a:spcPts val="600"/>
              </a:spcAft>
            </a:pPr>
            <a:r>
              <a:rPr lang="it-IT" b="1" dirty="0">
                <a:solidFill>
                  <a:schemeClr val="bg1"/>
                </a:solidFill>
                <a:latin typeface="+mj-lt"/>
              </a:rPr>
              <a:t>Più di 50 sigle sindacali di cui 22 rappresentate in Consiglio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0C0036F2-232D-4624-8BEE-B1C616A2C232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99441" y="3320607"/>
            <a:ext cx="4727848" cy="1202538"/>
          </a:xfrm>
          <a:prstGeom prst="homePlate">
            <a:avLst>
              <a:gd name="adj" fmla="val 30356"/>
            </a:avLst>
          </a:prstGeom>
          <a:solidFill>
            <a:schemeClr val="tx1"/>
          </a:solidFill>
        </p:spPr>
        <p:txBody>
          <a:bodyPr vert="horz" lIns="0" tIns="82800" rIns="0" bIns="8280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Lidl Font Pro Semibold" panose="02000000000000000000" pitchFamily="2" charset="0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989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0050">
              <a:lnSpc>
                <a:spcPct val="110000"/>
              </a:lnSpc>
              <a:spcAft>
                <a:spcPts val="600"/>
              </a:spcAft>
            </a:pPr>
            <a:r>
              <a:rPr lang="it-IT" b="1" dirty="0">
                <a:solidFill>
                  <a:schemeClr val="bg1"/>
                </a:solidFill>
                <a:latin typeface="+mj-lt"/>
              </a:rPr>
              <a:t>2 sedi operative</a:t>
            </a:r>
          </a:p>
          <a:p>
            <a:pPr marL="400050" lvl="1">
              <a:lnSpc>
                <a:spcPct val="110000"/>
              </a:lnSpc>
              <a:spcAft>
                <a:spcPts val="600"/>
              </a:spcAft>
            </a:pPr>
            <a:r>
              <a:rPr lang="it-IT" b="1" dirty="0">
                <a:solidFill>
                  <a:schemeClr val="bg1"/>
                </a:solidFill>
              </a:rPr>
              <a:t>Cremona (Palazzo Vidoni) e Crema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E6D72307-2BB3-4D66-8327-DF276EF0F99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399441" y="4522340"/>
            <a:ext cx="4616559" cy="1116459"/>
          </a:xfrm>
          <a:prstGeom prst="homePlate">
            <a:avLst>
              <a:gd name="adj" fmla="val 28868"/>
            </a:avLst>
          </a:prstGeom>
          <a:solidFill>
            <a:schemeClr val="tx1">
              <a:lumMod val="20000"/>
              <a:lumOff val="80000"/>
            </a:schemeClr>
          </a:solidFill>
        </p:spPr>
        <p:txBody>
          <a:bodyPr vert="horz" lIns="0" tIns="82800" rIns="0" bIns="8280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Lidl Font Pro Semibold" panose="02000000000000000000" pitchFamily="2" charset="0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989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0050">
              <a:lnSpc>
                <a:spcPct val="110000"/>
              </a:lnSpc>
              <a:spcAft>
                <a:spcPts val="600"/>
              </a:spcAft>
            </a:pPr>
            <a:r>
              <a:rPr lang="it-IT" b="1" dirty="0">
                <a:latin typeface="+mj-lt"/>
              </a:rPr>
              <a:t>2 uffici di appoggio: </a:t>
            </a:r>
          </a:p>
          <a:p>
            <a:pPr marL="400050">
              <a:lnSpc>
                <a:spcPct val="110000"/>
              </a:lnSpc>
              <a:spcAft>
                <a:spcPts val="600"/>
              </a:spcAft>
            </a:pPr>
            <a:r>
              <a:rPr lang="it-IT" b="1" dirty="0">
                <a:latin typeface="+mj-lt"/>
              </a:rPr>
              <a:t>Casalmaggiore e Soresina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BF307BFD-039D-4080-BAB3-0D3222CC1584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99441" y="5638799"/>
            <a:ext cx="4616559" cy="659862"/>
          </a:xfrm>
          <a:prstGeom prst="homePlate">
            <a:avLst>
              <a:gd name="adj" fmla="val 28868"/>
            </a:avLst>
          </a:prstGeom>
          <a:solidFill>
            <a:schemeClr val="accent4">
              <a:lumMod val="20000"/>
              <a:lumOff val="80000"/>
            </a:schemeClr>
          </a:solidFill>
        </p:spPr>
        <p:txBody>
          <a:bodyPr vert="horz" lIns="0" tIns="82800" rIns="0" bIns="8280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Lidl Font Pro Semibold" panose="02000000000000000000" pitchFamily="2" charset="0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989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0050">
              <a:lnSpc>
                <a:spcPct val="110000"/>
              </a:lnSpc>
              <a:spcAft>
                <a:spcPts val="600"/>
              </a:spcAft>
            </a:pPr>
            <a:r>
              <a:rPr lang="it-IT" b="1" dirty="0">
                <a:latin typeface="+mj-lt"/>
              </a:rPr>
              <a:t>24 dipendenti</a:t>
            </a:r>
          </a:p>
        </p:txBody>
      </p:sp>
      <p:grpSp>
        <p:nvGrpSpPr>
          <p:cNvPr id="11" name="Gruppo 10">
            <a:extLst>
              <a:ext uri="{FF2B5EF4-FFF2-40B4-BE49-F238E27FC236}">
                <a16:creationId xmlns:a16="http://schemas.microsoft.com/office/drawing/2014/main" id="{EF591F4E-ADFD-DCFA-8334-7AA04E40FD64}"/>
              </a:ext>
            </a:extLst>
          </p:cNvPr>
          <p:cNvGrpSpPr/>
          <p:nvPr/>
        </p:nvGrpSpPr>
        <p:grpSpPr>
          <a:xfrm>
            <a:off x="5921829" y="2080901"/>
            <a:ext cx="5701319" cy="4010518"/>
            <a:chOff x="5921829" y="2080901"/>
            <a:chExt cx="5701319" cy="4010518"/>
          </a:xfrm>
        </p:grpSpPr>
        <p:pic>
          <p:nvPicPr>
            <p:cNvPr id="4" name="Immagine 3" descr="Immagine che contiene logo&#10;&#10;Descrizione generata automaticamente">
              <a:extLst>
                <a:ext uri="{FF2B5EF4-FFF2-40B4-BE49-F238E27FC236}">
                  <a16:creationId xmlns:a16="http://schemas.microsoft.com/office/drawing/2014/main" id="{F159C3C3-3390-DB42-88C2-73CEDC5B8A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56081" y="3094100"/>
              <a:ext cx="1449004" cy="1449004"/>
            </a:xfrm>
            <a:prstGeom prst="ellipse">
              <a:avLst/>
            </a:prstGeom>
            <a:ln w="63500" cap="rnd">
              <a:solidFill>
                <a:srgbClr val="333333"/>
              </a:solidFill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  <p:grpSp>
          <p:nvGrpSpPr>
            <p:cNvPr id="5" name="Gruppo 4">
              <a:extLst>
                <a:ext uri="{FF2B5EF4-FFF2-40B4-BE49-F238E27FC236}">
                  <a16:creationId xmlns:a16="http://schemas.microsoft.com/office/drawing/2014/main" id="{3C48B1A9-93B8-0063-8656-7331F434E926}"/>
                </a:ext>
              </a:extLst>
            </p:cNvPr>
            <p:cNvGrpSpPr/>
            <p:nvPr/>
          </p:nvGrpSpPr>
          <p:grpSpPr>
            <a:xfrm>
              <a:off x="6096000" y="2080901"/>
              <a:ext cx="5527148" cy="3913055"/>
              <a:chOff x="6170671" y="1848926"/>
              <a:chExt cx="5527148" cy="3913055"/>
            </a:xfrm>
          </p:grpSpPr>
          <p:grpSp>
            <p:nvGrpSpPr>
              <p:cNvPr id="20" name="Gruppo 19">
                <a:extLst>
                  <a:ext uri="{FF2B5EF4-FFF2-40B4-BE49-F238E27FC236}">
                    <a16:creationId xmlns:a16="http://schemas.microsoft.com/office/drawing/2014/main" id="{8B903CAF-DE03-9300-A836-58B5A6D8364B}"/>
                  </a:ext>
                </a:extLst>
              </p:cNvPr>
              <p:cNvGrpSpPr/>
              <p:nvPr/>
            </p:nvGrpSpPr>
            <p:grpSpPr>
              <a:xfrm>
                <a:off x="6193729" y="1848926"/>
                <a:ext cx="5504090" cy="3913055"/>
                <a:chOff x="1623228" y="1707830"/>
                <a:chExt cx="7630961" cy="5100800"/>
              </a:xfrm>
            </p:grpSpPr>
            <p:pic>
              <p:nvPicPr>
                <p:cNvPr id="25" name="Immagine 24">
                  <a:extLst>
                    <a:ext uri="{FF2B5EF4-FFF2-40B4-BE49-F238E27FC236}">
                      <a16:creationId xmlns:a16="http://schemas.microsoft.com/office/drawing/2014/main" id="{2195E0F2-DF03-75CE-3B95-B15AD8F2A58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3761272" y="1723523"/>
                  <a:ext cx="1003153" cy="1050176"/>
                </a:xfrm>
                <a:prstGeom prst="rect">
                  <a:avLst/>
                </a:prstGeom>
              </p:spPr>
            </p:pic>
            <p:pic>
              <p:nvPicPr>
                <p:cNvPr id="27" name="Immagine 26">
                  <a:extLst>
                    <a:ext uri="{FF2B5EF4-FFF2-40B4-BE49-F238E27FC236}">
                      <a16:creationId xmlns:a16="http://schemas.microsoft.com/office/drawing/2014/main" id="{494E61AA-D4B2-95DC-D010-E750D9AFCD9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3"/>
                <a:srcRect t="28721" b="23790"/>
                <a:stretch/>
              </p:blipFill>
              <p:spPr>
                <a:xfrm>
                  <a:off x="7542621" y="5995831"/>
                  <a:ext cx="1711568" cy="812799"/>
                </a:xfrm>
                <a:prstGeom prst="rect">
                  <a:avLst/>
                </a:prstGeom>
              </p:spPr>
            </p:pic>
            <p:pic>
              <p:nvPicPr>
                <p:cNvPr id="28" name="Immagine 27">
                  <a:extLst>
                    <a:ext uri="{FF2B5EF4-FFF2-40B4-BE49-F238E27FC236}">
                      <a16:creationId xmlns:a16="http://schemas.microsoft.com/office/drawing/2014/main" id="{2E27B8BB-3606-CCDE-A51F-CCC52FFA7E2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4"/>
                <a:srcRect t="32085" b="22567"/>
                <a:stretch/>
              </p:blipFill>
              <p:spPr>
                <a:xfrm>
                  <a:off x="6971271" y="3028569"/>
                  <a:ext cx="1711570" cy="776166"/>
                </a:xfrm>
                <a:prstGeom prst="rect">
                  <a:avLst/>
                </a:prstGeom>
              </p:spPr>
            </p:pic>
            <p:pic>
              <p:nvPicPr>
                <p:cNvPr id="29" name="Immagine 28">
                  <a:extLst>
                    <a:ext uri="{FF2B5EF4-FFF2-40B4-BE49-F238E27FC236}">
                      <a16:creationId xmlns:a16="http://schemas.microsoft.com/office/drawing/2014/main" id="{4A5F6202-A202-400F-3472-8C755FA44A6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2877555" y="3605898"/>
                  <a:ext cx="1886727" cy="1098075"/>
                </a:xfrm>
                <a:prstGeom prst="rect">
                  <a:avLst/>
                </a:prstGeom>
              </p:spPr>
            </p:pic>
            <p:pic>
              <p:nvPicPr>
                <p:cNvPr id="30" name="Immagine 29">
                  <a:extLst>
                    <a:ext uri="{FF2B5EF4-FFF2-40B4-BE49-F238E27FC236}">
                      <a16:creationId xmlns:a16="http://schemas.microsoft.com/office/drawing/2014/main" id="{EBFE4E5D-3B50-BB1A-483F-5F55C9A7241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6971271" y="4846063"/>
                  <a:ext cx="2008923" cy="1036217"/>
                </a:xfrm>
                <a:prstGeom prst="rect">
                  <a:avLst/>
                </a:prstGeom>
              </p:spPr>
            </p:pic>
            <p:pic>
              <p:nvPicPr>
                <p:cNvPr id="31" name="Immagine 30">
                  <a:extLst>
                    <a:ext uri="{FF2B5EF4-FFF2-40B4-BE49-F238E27FC236}">
                      <a16:creationId xmlns:a16="http://schemas.microsoft.com/office/drawing/2014/main" id="{1CD8D30B-18EC-0886-9CBE-28FC6B5F82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6867234" y="1748203"/>
                  <a:ext cx="960242" cy="989940"/>
                </a:xfrm>
                <a:prstGeom prst="rect">
                  <a:avLst/>
                </a:prstGeom>
              </p:spPr>
            </p:pic>
            <p:pic>
              <p:nvPicPr>
                <p:cNvPr id="32" name="Immagine 31">
                  <a:extLst>
                    <a:ext uri="{FF2B5EF4-FFF2-40B4-BE49-F238E27FC236}">
                      <a16:creationId xmlns:a16="http://schemas.microsoft.com/office/drawing/2014/main" id="{EE0E30E1-C2E6-B9F5-73FB-DC6624FEA92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3059236" y="2987406"/>
                  <a:ext cx="1402474" cy="657410"/>
                </a:xfrm>
                <a:prstGeom prst="rect">
                  <a:avLst/>
                </a:prstGeom>
              </p:spPr>
            </p:pic>
            <p:pic>
              <p:nvPicPr>
                <p:cNvPr id="37" name="Immagine 36">
                  <a:extLst>
                    <a:ext uri="{FF2B5EF4-FFF2-40B4-BE49-F238E27FC236}">
                      <a16:creationId xmlns:a16="http://schemas.microsoft.com/office/drawing/2014/main" id="{DDA66F6D-BCB0-C97E-24DF-AF6AB7EBEB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3129438" y="4283175"/>
                  <a:ext cx="1925197" cy="1925196"/>
                </a:xfrm>
                <a:prstGeom prst="rect">
                  <a:avLst/>
                </a:prstGeom>
              </p:spPr>
            </p:pic>
            <p:pic>
              <p:nvPicPr>
                <p:cNvPr id="38" name="Immagine 37">
                  <a:extLst>
                    <a:ext uri="{FF2B5EF4-FFF2-40B4-BE49-F238E27FC236}">
                      <a16:creationId xmlns:a16="http://schemas.microsoft.com/office/drawing/2014/main" id="{29177EBE-208D-77EC-6DEC-C1E6B82651F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5235121" y="6116005"/>
                  <a:ext cx="1936165" cy="684428"/>
                </a:xfrm>
                <a:prstGeom prst="rect">
                  <a:avLst/>
                </a:prstGeom>
              </p:spPr>
            </p:pic>
            <p:pic>
              <p:nvPicPr>
                <p:cNvPr id="42" name="Immagine 41">
                  <a:extLst>
                    <a:ext uri="{FF2B5EF4-FFF2-40B4-BE49-F238E27FC236}">
                      <a16:creationId xmlns:a16="http://schemas.microsoft.com/office/drawing/2014/main" id="{DDC10A54-16E0-8108-15BB-8E6263EEDA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21"/>
                <a:srcRect l="25980" r="23904"/>
                <a:stretch/>
              </p:blipFill>
              <p:spPr>
                <a:xfrm>
                  <a:off x="8150670" y="1764879"/>
                  <a:ext cx="928188" cy="817153"/>
                </a:xfrm>
                <a:prstGeom prst="rect">
                  <a:avLst/>
                </a:prstGeom>
              </p:spPr>
            </p:pic>
            <p:pic>
              <p:nvPicPr>
                <p:cNvPr id="43" name="Picture 2" descr="FIVA - Il sito del Commercio Ambulante">
                  <a:extLst>
                    <a:ext uri="{FF2B5EF4-FFF2-40B4-BE49-F238E27FC236}">
                      <a16:creationId xmlns:a16="http://schemas.microsoft.com/office/drawing/2014/main" id="{B17A4191-96AE-22AB-0263-EEA1E479F6A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439482" y="3862830"/>
                  <a:ext cx="1070781" cy="88339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6" name="Immagine 45">
                  <a:extLst>
                    <a:ext uri="{FF2B5EF4-FFF2-40B4-BE49-F238E27FC236}">
                      <a16:creationId xmlns:a16="http://schemas.microsoft.com/office/drawing/2014/main" id="{55B8161E-E479-1048-A4CF-062D1E76E5C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4846306" y="1707830"/>
                  <a:ext cx="1657766" cy="1037650"/>
                </a:xfrm>
                <a:prstGeom prst="rect">
                  <a:avLst/>
                </a:prstGeom>
              </p:spPr>
            </p:pic>
            <p:pic>
              <p:nvPicPr>
                <p:cNvPr id="54" name="Picture 2" descr="Assocaseari - Associazione Nazionale Commercio prodotti lattiero-caseari">
                  <a:extLst>
                    <a:ext uri="{FF2B5EF4-FFF2-40B4-BE49-F238E27FC236}">
                      <a16:creationId xmlns:a16="http://schemas.microsoft.com/office/drawing/2014/main" id="{7AE3120E-56AA-10F1-7244-AD09C67CA2CA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623228" y="4283175"/>
                  <a:ext cx="1144652" cy="1013018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3" name="Immagine 2">
                <a:extLst>
                  <a:ext uri="{FF2B5EF4-FFF2-40B4-BE49-F238E27FC236}">
                    <a16:creationId xmlns:a16="http://schemas.microsoft.com/office/drawing/2014/main" id="{3B18A8DC-A303-FA18-767B-9532A2F6E8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/>
              <a:stretch>
                <a:fillRect/>
              </a:stretch>
            </p:blipFill>
            <p:spPr>
              <a:xfrm>
                <a:off x="6170671" y="2682332"/>
                <a:ext cx="819792" cy="819792"/>
              </a:xfrm>
              <a:prstGeom prst="rect">
                <a:avLst/>
              </a:prstGeom>
            </p:spPr>
          </p:pic>
        </p:grpSp>
        <p:pic>
          <p:nvPicPr>
            <p:cNvPr id="6" name="Immagine 5">
              <a:extLst>
                <a:ext uri="{FF2B5EF4-FFF2-40B4-BE49-F238E27FC236}">
                  <a16:creationId xmlns:a16="http://schemas.microsoft.com/office/drawing/2014/main" id="{4F6D0AA1-CA77-F0B4-822C-C3C3D3B2E060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6031554" y="2256141"/>
              <a:ext cx="1396526" cy="424434"/>
            </a:xfrm>
            <a:prstGeom prst="rect">
              <a:avLst/>
            </a:prstGeom>
          </p:spPr>
        </p:pic>
        <p:pic>
          <p:nvPicPr>
            <p:cNvPr id="8" name="Immagine 7" descr="Immagine che contiene testo, logo, Carattere, Elementi grafici&#10;&#10;Descrizione generata automaticamente">
              <a:extLst>
                <a:ext uri="{FF2B5EF4-FFF2-40B4-BE49-F238E27FC236}">
                  <a16:creationId xmlns:a16="http://schemas.microsoft.com/office/drawing/2014/main" id="{D4562517-B43E-C11E-EE8D-59CBE4E4C25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673" t="21761" r="8072" b="21083"/>
            <a:stretch/>
          </p:blipFill>
          <p:spPr>
            <a:xfrm>
              <a:off x="5921829" y="5183875"/>
              <a:ext cx="1281614" cy="869407"/>
            </a:xfrm>
            <a:prstGeom prst="rect">
              <a:avLst/>
            </a:prstGeom>
          </p:spPr>
        </p:pic>
        <p:pic>
          <p:nvPicPr>
            <p:cNvPr id="10" name="Immagine 9" descr="Immagine che contiene testo, uccello, Carattere, logo&#10;&#10;Descrizione generata automaticamente">
              <a:extLst>
                <a:ext uri="{FF2B5EF4-FFF2-40B4-BE49-F238E27FC236}">
                  <a16:creationId xmlns:a16="http://schemas.microsoft.com/office/drawing/2014/main" id="{F9809B59-B866-810B-7516-C540A89B2731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26871" y="5235798"/>
              <a:ext cx="1167206" cy="8556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769209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  <p:bldP spid="3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>
            <a:extLst>
              <a:ext uri="{FF2B5EF4-FFF2-40B4-BE49-F238E27FC236}">
                <a16:creationId xmlns:a16="http://schemas.microsoft.com/office/drawing/2014/main" id="{B8A0A866-B576-4696-8376-16FF25D807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1" name="Objekt 30" hidden="1">
                        <a:extLst>
                          <a:ext uri="{FF2B5EF4-FFF2-40B4-BE49-F238E27FC236}">
                            <a16:creationId xmlns:a16="http://schemas.microsoft.com/office/drawing/2014/main" id="{B8A0A866-B576-4696-8376-16FF25D807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28" hidden="1">
            <a:extLst>
              <a:ext uri="{FF2B5EF4-FFF2-40B4-BE49-F238E27FC236}">
                <a16:creationId xmlns:a16="http://schemas.microsoft.com/office/drawing/2014/main" id="{D3785CF5-5079-4BB9-8DBE-537D4B2FA877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b="1">
              <a:solidFill>
                <a:schemeClr val="bg1"/>
              </a:solidFill>
              <a:latin typeface="Lidl Font Pro" panose="02000000000000000000" pitchFamily="2" charset="0"/>
              <a:ea typeface="+mj-ea"/>
              <a:cs typeface="+mj-cs"/>
              <a:sym typeface="Lidl Font Pro" panose="02000000000000000000" pitchFamily="2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3DAD791-0982-477D-BB84-73B6FB989C1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it-IT" sz="900" dirty="0"/>
              <a:t>Gennaio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7768FC9-7925-4283-BC5A-F47085B35B4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 dirty="0"/>
              <a:t>Confcommercio provincia di Cremona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407E1CB-C1E5-4CE3-92D3-8286F8C7744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it-IT" smtClean="0"/>
              <a:pPr algn="r"/>
              <a:t>4</a:t>
            </a:fld>
            <a:endParaRPr lang="it-IT"/>
          </a:p>
        </p:txBody>
      </p:sp>
      <p:sp>
        <p:nvSpPr>
          <p:cNvPr id="30" name="Titel 13">
            <a:extLst>
              <a:ext uri="{FF2B5EF4-FFF2-40B4-BE49-F238E27FC236}">
                <a16:creationId xmlns:a16="http://schemas.microsoft.com/office/drawing/2014/main" id="{B12B48F5-2FC1-477F-873B-A482D11274B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7488857" cy="576000"/>
          </a:xfrm>
        </p:spPr>
        <p:txBody>
          <a:bodyPr vert="horz"/>
          <a:lstStyle/>
          <a:p>
            <a:r>
              <a:rPr lang="it-IT" dirty="0"/>
              <a:t>Perché associarsi a Confcommercio? </a:t>
            </a:r>
            <a:endParaRPr lang="it-IT" noProof="0" dirty="0"/>
          </a:p>
        </p:txBody>
      </p:sp>
      <p:graphicFrame>
        <p:nvGraphicFramePr>
          <p:cNvPr id="12" name="Diagramma 11">
            <a:extLst>
              <a:ext uri="{FF2B5EF4-FFF2-40B4-BE49-F238E27FC236}">
                <a16:creationId xmlns:a16="http://schemas.microsoft.com/office/drawing/2014/main" id="{EE6AE2AF-E640-9958-50AF-80D4A9460A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09582182"/>
              </p:ext>
            </p:extLst>
          </p:nvPr>
        </p:nvGraphicFramePr>
        <p:xfrm>
          <a:off x="491645" y="1373312"/>
          <a:ext cx="7568973" cy="5095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15" name="Immagine 14">
            <a:extLst>
              <a:ext uri="{FF2B5EF4-FFF2-40B4-BE49-F238E27FC236}">
                <a16:creationId xmlns:a16="http://schemas.microsoft.com/office/drawing/2014/main" id="{6530B272-50FD-2424-AB97-BC5BF3F6ADF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921578" y="0"/>
            <a:ext cx="32780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91239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graphicEl>
                                              <a:dgm id="{E7F4688A-E129-4D40-93CC-4444A3527BF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graphicEl>
                                              <a:dgm id="{E7F4688A-E129-4D40-93CC-4444A3527BF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graphicEl>
                                              <a:dgm id="{6030D4D0-E4F8-4984-9B7D-E22687DE482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>
                                            <p:graphicEl>
                                              <a:dgm id="{6030D4D0-E4F8-4984-9B7D-E22687DE482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graphicEl>
                                              <a:dgm id="{F7290B78-ACBE-4728-B443-5B7962CD04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>
                                            <p:graphicEl>
                                              <a:dgm id="{F7290B78-ACBE-4728-B443-5B7962CD04F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graphicEl>
                                              <a:dgm id="{B33DFCDC-03DD-4996-8402-87CCA88F0A2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>
                                            <p:graphicEl>
                                              <a:dgm id="{B33DFCDC-03DD-4996-8402-87CCA88F0A2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graphicEl>
                                              <a:dgm id="{988E6670-4AEA-4057-9AFA-3D11BCACC4C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>
                                            <p:graphicEl>
                                              <a:dgm id="{988E6670-4AEA-4057-9AFA-3D11BCACC4C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graphicEl>
                                              <a:dgm id="{859294C6-48AA-456E-9414-CE007EF72D6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>
                                            <p:graphicEl>
                                              <a:dgm id="{859294C6-48AA-456E-9414-CE007EF72D6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2" grpId="0" uiExpand="1">
        <p:bldSub>
          <a:bldDgm bld="one"/>
        </p:bldSub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>
            <a:extLst>
              <a:ext uri="{FF2B5EF4-FFF2-40B4-BE49-F238E27FC236}">
                <a16:creationId xmlns:a16="http://schemas.microsoft.com/office/drawing/2014/main" id="{B8A0A866-B576-4696-8376-16FF25D807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06" imgH="306" progId="TCLayout.ActiveDocument.1">
                  <p:embed/>
                </p:oleObj>
              </mc:Choice>
              <mc:Fallback>
                <p:oleObj name="think-cell Folie" r:id="rId7" imgW="306" imgH="306" progId="TCLayout.ActiveDocument.1">
                  <p:embed/>
                  <p:pic>
                    <p:nvPicPr>
                      <p:cNvPr id="31" name="Objekt 30" hidden="1">
                        <a:extLst>
                          <a:ext uri="{FF2B5EF4-FFF2-40B4-BE49-F238E27FC236}">
                            <a16:creationId xmlns:a16="http://schemas.microsoft.com/office/drawing/2014/main" id="{B8A0A866-B576-4696-8376-16FF25D807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28" hidden="1">
            <a:extLst>
              <a:ext uri="{FF2B5EF4-FFF2-40B4-BE49-F238E27FC236}">
                <a16:creationId xmlns:a16="http://schemas.microsoft.com/office/drawing/2014/main" id="{D3785CF5-5079-4BB9-8DBE-537D4B2FA877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b="1">
              <a:solidFill>
                <a:schemeClr val="bg1"/>
              </a:solidFill>
              <a:latin typeface="Lidl Font Pro" panose="02000000000000000000" pitchFamily="2" charset="0"/>
              <a:ea typeface="+mj-ea"/>
              <a:cs typeface="+mj-cs"/>
              <a:sym typeface="Lidl Font Pro" panose="02000000000000000000" pitchFamily="2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3DAD791-0982-477D-BB84-73B6FB989C1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it-IT" sz="900" b="0" dirty="0"/>
              <a:t>Gennaio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7768FC9-7925-4283-BC5A-F47085B35B4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 dirty="0"/>
              <a:t>Confcommercio provincia di Cremona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407E1CB-C1E5-4CE3-92D3-8286F8C7744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it-IT" smtClean="0"/>
              <a:pPr algn="r"/>
              <a:t>5</a:t>
            </a:fld>
            <a:endParaRPr lang="it-IT"/>
          </a:p>
        </p:txBody>
      </p:sp>
      <p:sp>
        <p:nvSpPr>
          <p:cNvPr id="30" name="Titel 13">
            <a:extLst>
              <a:ext uri="{FF2B5EF4-FFF2-40B4-BE49-F238E27FC236}">
                <a16:creationId xmlns:a16="http://schemas.microsoft.com/office/drawing/2014/main" id="{B12B48F5-2FC1-477F-873B-A482D11274B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7488857" cy="576000"/>
          </a:xfrm>
        </p:spPr>
        <p:txBody>
          <a:bodyPr vert="horz"/>
          <a:lstStyle/>
          <a:p>
            <a:r>
              <a:rPr lang="it-IT" dirty="0"/>
              <a:t>Perché associarsi a Confcommercio? </a:t>
            </a:r>
            <a:endParaRPr lang="it-IT" noProof="0" dirty="0"/>
          </a:p>
        </p:txBody>
      </p:sp>
      <p:graphicFrame>
        <p:nvGraphicFramePr>
          <p:cNvPr id="12" name="Diagramma 11">
            <a:extLst>
              <a:ext uri="{FF2B5EF4-FFF2-40B4-BE49-F238E27FC236}">
                <a16:creationId xmlns:a16="http://schemas.microsoft.com/office/drawing/2014/main" id="{EE6AE2AF-E640-9958-50AF-80D4A9460A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79121522"/>
              </p:ext>
            </p:extLst>
          </p:nvPr>
        </p:nvGraphicFramePr>
        <p:xfrm>
          <a:off x="491645" y="1373312"/>
          <a:ext cx="7568973" cy="5095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pic>
        <p:nvPicPr>
          <p:cNvPr id="15" name="Immagine 14">
            <a:extLst>
              <a:ext uri="{FF2B5EF4-FFF2-40B4-BE49-F238E27FC236}">
                <a16:creationId xmlns:a16="http://schemas.microsoft.com/office/drawing/2014/main" id="{6530B272-50FD-2424-AB97-BC5BF3F6ADF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921578" y="0"/>
            <a:ext cx="3278091" cy="6858000"/>
          </a:xfrm>
          <a:prstGeom prst="rect">
            <a:avLst/>
          </a:prstGeom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4500992C-467B-23F5-A8E8-56495A64A98C}"/>
              </a:ext>
            </a:extLst>
          </p:cNvPr>
          <p:cNvSpPr/>
          <p:nvPr/>
        </p:nvSpPr>
        <p:spPr bwMode="gray">
          <a:xfrm>
            <a:off x="-914400" y="2911310"/>
            <a:ext cx="9677400" cy="361405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u="sng" dirty="0" err="1">
              <a:solidFill>
                <a:schemeClr val="bg1"/>
              </a:solidFill>
            </a:endParaRPr>
          </a:p>
        </p:txBody>
      </p:sp>
      <p:pic>
        <p:nvPicPr>
          <p:cNvPr id="7" name="Immagine 6" descr="Immagine che contiene testo&#10;&#10;Descrizione generata automaticamente">
            <a:extLst>
              <a:ext uri="{FF2B5EF4-FFF2-40B4-BE49-F238E27FC236}">
                <a16:creationId xmlns:a16="http://schemas.microsoft.com/office/drawing/2014/main" id="{FE7BCDEB-58E1-8731-AD82-FB634438F2B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008" y="3076481"/>
            <a:ext cx="3142713" cy="3203840"/>
          </a:xfrm>
          <a:prstGeom prst="rect">
            <a:avLst/>
          </a:prstGeom>
        </p:spPr>
      </p:pic>
      <p:pic>
        <p:nvPicPr>
          <p:cNvPr id="9" name="Immagine 8" descr="Immagine che contiene testo, lavagna&#10;&#10;Descrizione generata automaticamente">
            <a:extLst>
              <a:ext uri="{FF2B5EF4-FFF2-40B4-BE49-F238E27FC236}">
                <a16:creationId xmlns:a16="http://schemas.microsoft.com/office/drawing/2014/main" id="{3575118B-1669-F30A-4A10-2B6956002A3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536" y="3070162"/>
            <a:ext cx="2626370" cy="3203841"/>
          </a:xfrm>
          <a:prstGeom prst="rect">
            <a:avLst/>
          </a:prstGeom>
        </p:spPr>
      </p:pic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47BA6A23-0FEB-0ED7-BF04-09553CEF7BE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070193" y="3180940"/>
            <a:ext cx="1008052" cy="996064"/>
          </a:xfrm>
          <a:prstGeom prst="ellipse">
            <a:avLst/>
          </a:prstGeom>
          <a:solidFill>
            <a:srgbClr val="00B050"/>
          </a:solidFill>
        </p:spPr>
        <p:txBody>
          <a:bodyPr vert="horz" lIns="90000" tIns="82800" rIns="90000" bIns="8280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Lidl Font Pro Semibold" panose="02000000000000000000" pitchFamily="2" charset="0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989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it-IT" sz="4000" b="1" dirty="0">
                <a:solidFill>
                  <a:schemeClr val="bg1"/>
                </a:solidFill>
                <a:latin typeface="Lidl Font Pro" panose="02000000000000000000" pitchFamily="2" charset="0"/>
              </a:rPr>
              <a:t>60</a:t>
            </a:r>
            <a:endParaRPr lang="it-IT" sz="4000" dirty="0">
              <a:solidFill>
                <a:schemeClr val="bg1"/>
              </a:solidFill>
              <a:latin typeface="Lidl Font Pro" panose="02000000000000000000" pitchFamily="2" charset="0"/>
            </a:endParaRP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A3A21FFA-C60D-23F5-FFF7-8924E39009F2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7049695" y="3180940"/>
            <a:ext cx="1008052" cy="996064"/>
          </a:xfrm>
          <a:prstGeom prst="ellipse">
            <a:avLst/>
          </a:prstGeom>
          <a:solidFill>
            <a:srgbClr val="00B050"/>
          </a:solidFill>
        </p:spPr>
        <p:txBody>
          <a:bodyPr vert="horz" lIns="90000" tIns="82800" rIns="90000" bIns="8280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Lidl Font Pro Semibold" panose="02000000000000000000" pitchFamily="2" charset="0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989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it-IT" sz="4000" b="1" dirty="0">
                <a:solidFill>
                  <a:schemeClr val="bg1"/>
                </a:solidFill>
                <a:latin typeface="Lidl Font Pro" panose="02000000000000000000" pitchFamily="2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6598264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>
            <a:extLst>
              <a:ext uri="{FF2B5EF4-FFF2-40B4-BE49-F238E27FC236}">
                <a16:creationId xmlns:a16="http://schemas.microsoft.com/office/drawing/2014/main" id="{B8A0A866-B576-4696-8376-16FF25D807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31" name="Objekt 30" hidden="1">
                        <a:extLst>
                          <a:ext uri="{FF2B5EF4-FFF2-40B4-BE49-F238E27FC236}">
                            <a16:creationId xmlns:a16="http://schemas.microsoft.com/office/drawing/2014/main" id="{B8A0A866-B576-4696-8376-16FF25D807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28" hidden="1">
            <a:extLst>
              <a:ext uri="{FF2B5EF4-FFF2-40B4-BE49-F238E27FC236}">
                <a16:creationId xmlns:a16="http://schemas.microsoft.com/office/drawing/2014/main" id="{D3785CF5-5079-4BB9-8DBE-537D4B2FA877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b="1">
              <a:solidFill>
                <a:schemeClr val="bg1"/>
              </a:solidFill>
              <a:latin typeface="Lidl Font Pro" panose="02000000000000000000" pitchFamily="2" charset="0"/>
              <a:ea typeface="+mj-ea"/>
              <a:cs typeface="+mj-cs"/>
              <a:sym typeface="Lidl Font Pro" panose="02000000000000000000" pitchFamily="2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3DAD791-0982-477D-BB84-73B6FB989C1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it-IT" sz="900" dirty="0"/>
              <a:t>Gennaio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7768FC9-7925-4283-BC5A-F47085B35B4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 dirty="0"/>
              <a:t>Confcommercio provincia di Cremona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407E1CB-C1E5-4CE3-92D3-8286F8C7744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it-IT" smtClean="0"/>
              <a:pPr algn="r"/>
              <a:t>6</a:t>
            </a:fld>
            <a:endParaRPr lang="it-IT"/>
          </a:p>
        </p:txBody>
      </p:sp>
      <p:sp>
        <p:nvSpPr>
          <p:cNvPr id="30" name="Titel 13">
            <a:extLst>
              <a:ext uri="{FF2B5EF4-FFF2-40B4-BE49-F238E27FC236}">
                <a16:creationId xmlns:a16="http://schemas.microsoft.com/office/drawing/2014/main" id="{B12B48F5-2FC1-477F-873B-A482D11274B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7488857" cy="576000"/>
          </a:xfrm>
        </p:spPr>
        <p:txBody>
          <a:bodyPr vert="horz"/>
          <a:lstStyle/>
          <a:p>
            <a:r>
              <a:rPr lang="it-IT" dirty="0"/>
              <a:t>Perché associarsi a Confcommercio? </a:t>
            </a:r>
            <a:endParaRPr lang="it-IT" noProof="0" dirty="0"/>
          </a:p>
        </p:txBody>
      </p:sp>
      <p:graphicFrame>
        <p:nvGraphicFramePr>
          <p:cNvPr id="12" name="Diagramma 11">
            <a:extLst>
              <a:ext uri="{FF2B5EF4-FFF2-40B4-BE49-F238E27FC236}">
                <a16:creationId xmlns:a16="http://schemas.microsoft.com/office/drawing/2014/main" id="{EE6AE2AF-E640-9958-50AF-80D4A9460AD1}"/>
              </a:ext>
            </a:extLst>
          </p:cNvPr>
          <p:cNvGraphicFramePr/>
          <p:nvPr/>
        </p:nvGraphicFramePr>
        <p:xfrm>
          <a:off x="491645" y="1373312"/>
          <a:ext cx="7568973" cy="5095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" name="Rettangolo 1">
            <a:extLst>
              <a:ext uri="{FF2B5EF4-FFF2-40B4-BE49-F238E27FC236}">
                <a16:creationId xmlns:a16="http://schemas.microsoft.com/office/drawing/2014/main" id="{4500992C-467B-23F5-A8E8-56495A64A98C}"/>
              </a:ext>
            </a:extLst>
          </p:cNvPr>
          <p:cNvSpPr/>
          <p:nvPr/>
        </p:nvSpPr>
        <p:spPr bwMode="gray">
          <a:xfrm>
            <a:off x="-914400" y="2911310"/>
            <a:ext cx="9677400" cy="361405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u="sng" dirty="0" err="1">
              <a:solidFill>
                <a:schemeClr val="bg1"/>
              </a:solidFill>
            </a:endParaRPr>
          </a:p>
        </p:txBody>
      </p:sp>
      <p:pic>
        <p:nvPicPr>
          <p:cNvPr id="9" name="Immagine 8" descr="Immagine che contiene testo, lavagna&#10;&#10;Descrizione generata automaticamente">
            <a:extLst>
              <a:ext uri="{FF2B5EF4-FFF2-40B4-BE49-F238E27FC236}">
                <a16:creationId xmlns:a16="http://schemas.microsoft.com/office/drawing/2014/main" id="{3575118B-1669-F30A-4A10-2B6956002A3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536" y="3070162"/>
            <a:ext cx="2626370" cy="3203841"/>
          </a:xfrm>
          <a:prstGeom prst="rect">
            <a:avLst/>
          </a:prstGeom>
        </p:spPr>
      </p:pic>
      <p:grpSp>
        <p:nvGrpSpPr>
          <p:cNvPr id="27" name="Gruppo 26">
            <a:extLst>
              <a:ext uri="{FF2B5EF4-FFF2-40B4-BE49-F238E27FC236}">
                <a16:creationId xmlns:a16="http://schemas.microsoft.com/office/drawing/2014/main" id="{FA328F37-C877-148D-3141-FD757F4A10D4}"/>
              </a:ext>
            </a:extLst>
          </p:cNvPr>
          <p:cNvGrpSpPr/>
          <p:nvPr/>
        </p:nvGrpSpPr>
        <p:grpSpPr>
          <a:xfrm>
            <a:off x="3771901" y="3089212"/>
            <a:ext cx="8315766" cy="3096368"/>
            <a:chOff x="352307" y="2187763"/>
            <a:chExt cx="11458532" cy="4019748"/>
          </a:xfrm>
        </p:grpSpPr>
        <p:pic>
          <p:nvPicPr>
            <p:cNvPr id="28" name="Immagine 27">
              <a:extLst>
                <a:ext uri="{FF2B5EF4-FFF2-40B4-BE49-F238E27FC236}">
                  <a16:creationId xmlns:a16="http://schemas.microsoft.com/office/drawing/2014/main" id="{FB795374-7A2C-4F4E-6E81-1EBF4B819F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52307" y="2187763"/>
              <a:ext cx="10269383" cy="3810532"/>
            </a:xfrm>
            <a:prstGeom prst="rect">
              <a:avLst/>
            </a:prstGeom>
          </p:spPr>
        </p:pic>
        <p:pic>
          <p:nvPicPr>
            <p:cNvPr id="32" name="Immagine 31">
              <a:extLst>
                <a:ext uri="{FF2B5EF4-FFF2-40B4-BE49-F238E27FC236}">
                  <a16:creationId xmlns:a16="http://schemas.microsoft.com/office/drawing/2014/main" id="{B45C0413-0FD1-0CF7-D7E7-DE16ABDFCD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743223" y="3147587"/>
              <a:ext cx="3546963" cy="692879"/>
            </a:xfrm>
            <a:prstGeom prst="rect">
              <a:avLst/>
            </a:prstGeom>
          </p:spPr>
        </p:pic>
        <p:pic>
          <p:nvPicPr>
            <p:cNvPr id="33" name="Immagine 32">
              <a:extLst>
                <a:ext uri="{FF2B5EF4-FFF2-40B4-BE49-F238E27FC236}">
                  <a16:creationId xmlns:a16="http://schemas.microsoft.com/office/drawing/2014/main" id="{422275F7-DFE4-4254-B972-3C5BE7DF28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553943" y="3808322"/>
              <a:ext cx="3637878" cy="704151"/>
            </a:xfrm>
            <a:prstGeom prst="rect">
              <a:avLst/>
            </a:prstGeom>
          </p:spPr>
        </p:pic>
        <p:pic>
          <p:nvPicPr>
            <p:cNvPr id="34" name="Immagine 33">
              <a:extLst>
                <a:ext uri="{FF2B5EF4-FFF2-40B4-BE49-F238E27FC236}">
                  <a16:creationId xmlns:a16="http://schemas.microsoft.com/office/drawing/2014/main" id="{156370FF-BE9B-F890-9689-0EE2DA6B075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553942" y="4478693"/>
              <a:ext cx="3736244" cy="622114"/>
            </a:xfrm>
            <a:prstGeom prst="rect">
              <a:avLst/>
            </a:prstGeom>
          </p:spPr>
        </p:pic>
        <p:pic>
          <p:nvPicPr>
            <p:cNvPr id="35" name="Immagine 34">
              <a:extLst>
                <a:ext uri="{FF2B5EF4-FFF2-40B4-BE49-F238E27FC236}">
                  <a16:creationId xmlns:a16="http://schemas.microsoft.com/office/drawing/2014/main" id="{072E4811-03E5-2764-6209-A90C9A067A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455577" y="5051448"/>
              <a:ext cx="3736244" cy="603075"/>
            </a:xfrm>
            <a:prstGeom prst="rect">
              <a:avLst/>
            </a:prstGeom>
          </p:spPr>
        </p:pic>
        <p:pic>
          <p:nvPicPr>
            <p:cNvPr id="36" name="Immagine 35">
              <a:extLst>
                <a:ext uri="{FF2B5EF4-FFF2-40B4-BE49-F238E27FC236}">
                  <a16:creationId xmlns:a16="http://schemas.microsoft.com/office/drawing/2014/main" id="{36C8C9F1-F98D-69F6-EB2D-C3EC291451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428643" y="5631383"/>
              <a:ext cx="3266400" cy="567637"/>
            </a:xfrm>
            <a:prstGeom prst="rect">
              <a:avLst/>
            </a:prstGeom>
          </p:spPr>
        </p:pic>
        <p:pic>
          <p:nvPicPr>
            <p:cNvPr id="37" name="Immagine 36">
              <a:extLst>
                <a:ext uri="{FF2B5EF4-FFF2-40B4-BE49-F238E27FC236}">
                  <a16:creationId xmlns:a16="http://schemas.microsoft.com/office/drawing/2014/main" id="{48667420-C2EB-1721-4E51-332346F3FC52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3567964" y="5478208"/>
              <a:ext cx="4273643" cy="723373"/>
            </a:xfrm>
            <a:prstGeom prst="rect">
              <a:avLst/>
            </a:prstGeom>
          </p:spPr>
        </p:pic>
        <p:pic>
          <p:nvPicPr>
            <p:cNvPr id="38" name="Immagine 37">
              <a:extLst>
                <a:ext uri="{FF2B5EF4-FFF2-40B4-BE49-F238E27FC236}">
                  <a16:creationId xmlns:a16="http://schemas.microsoft.com/office/drawing/2014/main" id="{69AA06E7-3EAC-E3F5-9505-A1C6E836D72D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7818117" y="5622894"/>
              <a:ext cx="3000294" cy="584617"/>
            </a:xfrm>
            <a:prstGeom prst="rect">
              <a:avLst/>
            </a:prstGeom>
          </p:spPr>
        </p:pic>
        <p:pic>
          <p:nvPicPr>
            <p:cNvPr id="39" name="Immagine 38">
              <a:extLst>
                <a:ext uri="{FF2B5EF4-FFF2-40B4-BE49-F238E27FC236}">
                  <a16:creationId xmlns:a16="http://schemas.microsoft.com/office/drawing/2014/main" id="{17FCE3A3-F4B7-9237-96A5-B29691FDCE3D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7725562" y="3101248"/>
              <a:ext cx="3592592" cy="566871"/>
            </a:xfrm>
            <a:prstGeom prst="rect">
              <a:avLst/>
            </a:prstGeom>
          </p:spPr>
        </p:pic>
        <p:pic>
          <p:nvPicPr>
            <p:cNvPr id="40" name="Immagine 39">
              <a:extLst>
                <a:ext uri="{FF2B5EF4-FFF2-40B4-BE49-F238E27FC236}">
                  <a16:creationId xmlns:a16="http://schemas.microsoft.com/office/drawing/2014/main" id="{FC0C2449-2AD8-EBFE-EFE2-328CC3A85079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7462540" y="3686001"/>
              <a:ext cx="4348299" cy="670551"/>
            </a:xfrm>
            <a:prstGeom prst="rect">
              <a:avLst/>
            </a:prstGeom>
          </p:spPr>
        </p:pic>
        <p:pic>
          <p:nvPicPr>
            <p:cNvPr id="41" name="Immagine 40">
              <a:extLst>
                <a:ext uri="{FF2B5EF4-FFF2-40B4-BE49-F238E27FC236}">
                  <a16:creationId xmlns:a16="http://schemas.microsoft.com/office/drawing/2014/main" id="{DC356112-11B2-32DE-E6CE-DA69A150FEB2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7671295" y="4278207"/>
              <a:ext cx="4035278" cy="692347"/>
            </a:xfrm>
            <a:prstGeom prst="rect">
              <a:avLst/>
            </a:prstGeom>
          </p:spPr>
        </p:pic>
        <p:pic>
          <p:nvPicPr>
            <p:cNvPr id="42" name="Immagine 41">
              <a:extLst>
                <a:ext uri="{FF2B5EF4-FFF2-40B4-BE49-F238E27FC236}">
                  <a16:creationId xmlns:a16="http://schemas.microsoft.com/office/drawing/2014/main" id="{70EE1EDE-C25E-D3E4-FCDC-A71814F456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6974092" y="4899522"/>
              <a:ext cx="4699103" cy="723373"/>
            </a:xfrm>
            <a:prstGeom prst="rect">
              <a:avLst/>
            </a:prstGeom>
          </p:spPr>
        </p:pic>
        <p:pic>
          <p:nvPicPr>
            <p:cNvPr id="43" name="Picture 2" descr="ImprendiGreen">
              <a:extLst>
                <a:ext uri="{FF2B5EF4-FFF2-40B4-BE49-F238E27FC236}">
                  <a16:creationId xmlns:a16="http://schemas.microsoft.com/office/drawing/2014/main" id="{15D3705C-FB58-1223-F888-3D43598C9B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85174" y="5446039"/>
              <a:ext cx="825665" cy="7529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47BA6A23-0FEB-0ED7-BF04-09553CEF7BE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070193" y="3180940"/>
            <a:ext cx="1008052" cy="996064"/>
          </a:xfrm>
          <a:prstGeom prst="ellipse">
            <a:avLst/>
          </a:prstGeom>
          <a:solidFill>
            <a:srgbClr val="00B050"/>
          </a:solidFill>
        </p:spPr>
        <p:txBody>
          <a:bodyPr vert="horz" lIns="90000" tIns="82800" rIns="90000" bIns="8280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Lidl Font Pro Semibold" panose="02000000000000000000" pitchFamily="2" charset="0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989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it-IT" sz="4000" b="1" dirty="0">
                <a:solidFill>
                  <a:schemeClr val="bg1"/>
                </a:solidFill>
                <a:latin typeface="Lidl Font Pro" panose="02000000000000000000" pitchFamily="2" charset="0"/>
              </a:rPr>
              <a:t>60</a:t>
            </a:r>
            <a:endParaRPr lang="it-IT" sz="4000" dirty="0">
              <a:solidFill>
                <a:schemeClr val="bg1"/>
              </a:solidFill>
              <a:latin typeface="Lidl Font Pro" panose="02000000000000000000" pitchFamily="2" charset="0"/>
            </a:endParaRPr>
          </a:p>
        </p:txBody>
      </p:sp>
      <p:sp>
        <p:nvSpPr>
          <p:cNvPr id="44" name="Rettangolo 43">
            <a:extLst>
              <a:ext uri="{FF2B5EF4-FFF2-40B4-BE49-F238E27FC236}">
                <a16:creationId xmlns:a16="http://schemas.microsoft.com/office/drawing/2014/main" id="{04DF04EA-378A-C208-FC79-F49A7402A450}"/>
              </a:ext>
            </a:extLst>
          </p:cNvPr>
          <p:cNvSpPr/>
          <p:nvPr/>
        </p:nvSpPr>
        <p:spPr bwMode="gray">
          <a:xfrm>
            <a:off x="6535188" y="5531643"/>
            <a:ext cx="2453794" cy="105113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u="sng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22815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>
            <a:extLst>
              <a:ext uri="{FF2B5EF4-FFF2-40B4-BE49-F238E27FC236}">
                <a16:creationId xmlns:a16="http://schemas.microsoft.com/office/drawing/2014/main" id="{B8A0A866-B576-4696-8376-16FF25D807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31" name="Objekt 30" hidden="1">
                        <a:extLst>
                          <a:ext uri="{FF2B5EF4-FFF2-40B4-BE49-F238E27FC236}">
                            <a16:creationId xmlns:a16="http://schemas.microsoft.com/office/drawing/2014/main" id="{B8A0A866-B576-4696-8376-16FF25D807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28" hidden="1">
            <a:extLst>
              <a:ext uri="{FF2B5EF4-FFF2-40B4-BE49-F238E27FC236}">
                <a16:creationId xmlns:a16="http://schemas.microsoft.com/office/drawing/2014/main" id="{D3785CF5-5079-4BB9-8DBE-537D4B2FA877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b="1">
              <a:solidFill>
                <a:schemeClr val="bg1"/>
              </a:solidFill>
              <a:latin typeface="Lidl Font Pro" panose="02000000000000000000" pitchFamily="2" charset="0"/>
              <a:ea typeface="+mj-ea"/>
              <a:cs typeface="+mj-cs"/>
              <a:sym typeface="Lidl Font Pro" panose="02000000000000000000" pitchFamily="2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3DAD791-0982-477D-BB84-73B6FB989C1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it-IT" sz="900" dirty="0"/>
              <a:t>Gennaio 2024</a:t>
            </a:r>
            <a:r>
              <a:rPr lang="it-IT" dirty="0"/>
              <a:t>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7768FC9-7925-4283-BC5A-F47085B35B4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 dirty="0"/>
              <a:t>Confcommercio provincia di Cremona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407E1CB-C1E5-4CE3-92D3-8286F8C7744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it-IT" smtClean="0"/>
              <a:pPr algn="r"/>
              <a:t>7</a:t>
            </a:fld>
            <a:endParaRPr lang="it-IT"/>
          </a:p>
        </p:txBody>
      </p:sp>
      <p:sp>
        <p:nvSpPr>
          <p:cNvPr id="30" name="Titel 13">
            <a:extLst>
              <a:ext uri="{FF2B5EF4-FFF2-40B4-BE49-F238E27FC236}">
                <a16:creationId xmlns:a16="http://schemas.microsoft.com/office/drawing/2014/main" id="{B12B48F5-2FC1-477F-873B-A482D11274B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7488857" cy="576000"/>
          </a:xfrm>
        </p:spPr>
        <p:txBody>
          <a:bodyPr vert="horz"/>
          <a:lstStyle/>
          <a:p>
            <a:r>
              <a:rPr lang="it-IT" dirty="0"/>
              <a:t>Perché associarsi a Confcommercio? </a:t>
            </a:r>
            <a:endParaRPr lang="it-IT" noProof="0" dirty="0"/>
          </a:p>
        </p:txBody>
      </p:sp>
      <p:graphicFrame>
        <p:nvGraphicFramePr>
          <p:cNvPr id="12" name="Diagramma 11">
            <a:extLst>
              <a:ext uri="{FF2B5EF4-FFF2-40B4-BE49-F238E27FC236}">
                <a16:creationId xmlns:a16="http://schemas.microsoft.com/office/drawing/2014/main" id="{EE6AE2AF-E640-9958-50AF-80D4A9460A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4087687"/>
              </p:ext>
            </p:extLst>
          </p:nvPr>
        </p:nvGraphicFramePr>
        <p:xfrm>
          <a:off x="491645" y="1373312"/>
          <a:ext cx="7568973" cy="5095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" name="Rettangolo 1">
            <a:extLst>
              <a:ext uri="{FF2B5EF4-FFF2-40B4-BE49-F238E27FC236}">
                <a16:creationId xmlns:a16="http://schemas.microsoft.com/office/drawing/2014/main" id="{4500992C-467B-23F5-A8E8-56495A64A98C}"/>
              </a:ext>
            </a:extLst>
          </p:cNvPr>
          <p:cNvSpPr/>
          <p:nvPr/>
        </p:nvSpPr>
        <p:spPr bwMode="gray">
          <a:xfrm>
            <a:off x="-914400" y="2911310"/>
            <a:ext cx="9677400" cy="361405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u="sng" dirty="0" err="1">
              <a:solidFill>
                <a:schemeClr val="bg1"/>
              </a:solidFill>
            </a:endParaRPr>
          </a:p>
        </p:txBody>
      </p:sp>
      <p:sp>
        <p:nvSpPr>
          <p:cNvPr id="44" name="Rettangolo 43">
            <a:extLst>
              <a:ext uri="{FF2B5EF4-FFF2-40B4-BE49-F238E27FC236}">
                <a16:creationId xmlns:a16="http://schemas.microsoft.com/office/drawing/2014/main" id="{04DF04EA-378A-C208-FC79-F49A7402A450}"/>
              </a:ext>
            </a:extLst>
          </p:cNvPr>
          <p:cNvSpPr/>
          <p:nvPr/>
        </p:nvSpPr>
        <p:spPr bwMode="gray">
          <a:xfrm>
            <a:off x="6535188" y="5531643"/>
            <a:ext cx="2453794" cy="105113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u="sng" dirty="0" err="1">
              <a:solidFill>
                <a:schemeClr val="bg1"/>
              </a:solidFill>
            </a:endParaRP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7071C1D8-6457-607F-5AB1-298558AED403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86220" y="3363551"/>
            <a:ext cx="1629248" cy="1044929"/>
          </a:xfrm>
          <a:prstGeom prst="rect">
            <a:avLst/>
          </a:prstGeom>
        </p:spPr>
      </p:pic>
      <p:pic>
        <p:nvPicPr>
          <p:cNvPr id="7" name="Immagine 6" descr="Immagine che contiene logo&#10;&#10;Descrizione generata automaticamente">
            <a:extLst>
              <a:ext uri="{FF2B5EF4-FFF2-40B4-BE49-F238E27FC236}">
                <a16:creationId xmlns:a16="http://schemas.microsoft.com/office/drawing/2014/main" id="{0E168056-ADE7-2DD6-F249-3E7FE92C9080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297" b="23313"/>
          <a:stretch/>
        </p:blipFill>
        <p:spPr>
          <a:xfrm>
            <a:off x="7183105" y="3180940"/>
            <a:ext cx="3754347" cy="1365660"/>
          </a:xfrm>
          <a:prstGeom prst="rect">
            <a:avLst/>
          </a:prstGeom>
        </p:spPr>
      </p:pic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00E3F040-3E1B-DD6F-0D0E-6421ECA2E39D}"/>
              </a:ext>
            </a:extLst>
          </p:cNvPr>
          <p:cNvSpPr txBox="1"/>
          <p:nvPr/>
        </p:nvSpPr>
        <p:spPr bwMode="gray">
          <a:xfrm>
            <a:off x="4870813" y="4187602"/>
            <a:ext cx="6553200" cy="19796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it-IT" sz="800" b="0" i="0" u="none" strike="noStrike" baseline="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it-IT" sz="8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it-IT" sz="3200" dirty="0">
                <a:solidFill>
                  <a:srgbClr val="0050AA">
                    <a:hueOff val="0"/>
                    <a:satOff val="0"/>
                    <a:lumOff val="0"/>
                    <a:alphaOff val="0"/>
                  </a:srgbClr>
                </a:solidFill>
                <a:latin typeface="Lidl Font Pro"/>
              </a:rPr>
              <a:t>Soluzioni WELFARE = </a:t>
            </a:r>
            <a:r>
              <a:rPr lang="it-IT" sz="3200" dirty="0">
                <a:solidFill>
                  <a:srgbClr val="00B050"/>
                </a:solidFill>
                <a:latin typeface="Lidl Font Pro"/>
              </a:rPr>
              <a:t>RISPARMIO</a:t>
            </a:r>
            <a:r>
              <a:rPr lang="it-IT" sz="3200" dirty="0">
                <a:solidFill>
                  <a:srgbClr val="0050AA">
                    <a:hueOff val="0"/>
                    <a:satOff val="0"/>
                    <a:lumOff val="0"/>
                    <a:alphaOff val="0"/>
                  </a:srgbClr>
                </a:solidFill>
                <a:latin typeface="Lidl Font Pro"/>
              </a:rPr>
              <a:t> per </a:t>
            </a:r>
          </a:p>
          <a:p>
            <a:pPr algn="ctr"/>
            <a:r>
              <a:rPr lang="it-IT" sz="3200" dirty="0">
                <a:solidFill>
                  <a:srgbClr val="0050AA">
                    <a:hueOff val="0"/>
                    <a:satOff val="0"/>
                    <a:lumOff val="0"/>
                    <a:alphaOff val="0"/>
                  </a:srgbClr>
                </a:solidFill>
                <a:latin typeface="Lidl Font Pro"/>
              </a:rPr>
              <a:t>la </a:t>
            </a:r>
            <a:r>
              <a:rPr lang="it-IT" sz="3200" dirty="0">
                <a:solidFill>
                  <a:srgbClr val="00B050"/>
                </a:solidFill>
                <a:latin typeface="Lidl Font Pro"/>
              </a:rPr>
              <a:t>CRESCISTA</a:t>
            </a:r>
            <a:r>
              <a:rPr lang="it-IT" sz="3200" dirty="0">
                <a:solidFill>
                  <a:srgbClr val="0050AA">
                    <a:hueOff val="0"/>
                    <a:satOff val="0"/>
                    <a:lumOff val="0"/>
                    <a:alphaOff val="0"/>
                  </a:srgbClr>
                </a:solidFill>
                <a:latin typeface="Lidl Font Pro"/>
              </a:rPr>
              <a:t> delle aziende e il </a:t>
            </a:r>
            <a:r>
              <a:rPr lang="it-IT" sz="3200" dirty="0">
                <a:solidFill>
                  <a:srgbClr val="00B050"/>
                </a:solidFill>
                <a:latin typeface="Lidl Font Pro"/>
              </a:rPr>
              <a:t>BENESSERE</a:t>
            </a:r>
            <a:r>
              <a:rPr lang="it-IT" sz="3200" dirty="0">
                <a:solidFill>
                  <a:srgbClr val="0050AA">
                    <a:hueOff val="0"/>
                    <a:satOff val="0"/>
                    <a:lumOff val="0"/>
                    <a:alphaOff val="0"/>
                  </a:srgbClr>
                </a:solidFill>
                <a:latin typeface="Lidl Font Pro"/>
              </a:rPr>
              <a:t> dei dipendenti</a:t>
            </a: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686D38D3-EB58-5B1D-03DF-D04DED938521}"/>
              </a:ext>
            </a:extLst>
          </p:cNvPr>
          <p:cNvSpPr txBox="1"/>
          <p:nvPr/>
        </p:nvSpPr>
        <p:spPr bwMode="gray">
          <a:xfrm>
            <a:off x="7359744" y="3602231"/>
            <a:ext cx="533400" cy="574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3000" dirty="0">
                <a:solidFill>
                  <a:srgbClr val="0050AA">
                    <a:hueOff val="0"/>
                    <a:satOff val="0"/>
                    <a:lumOff val="0"/>
                    <a:alphaOff val="0"/>
                  </a:srgbClr>
                </a:solidFill>
                <a:latin typeface="Lidl Font Pro"/>
              </a:rPr>
              <a:t>&amp;</a:t>
            </a:r>
            <a:endParaRPr lang="it-IT" sz="3000" dirty="0"/>
          </a:p>
        </p:txBody>
      </p:sp>
      <p:sp>
        <p:nvSpPr>
          <p:cNvPr id="19" name="Rettangolo con angoli arrotondati 18">
            <a:extLst>
              <a:ext uri="{FF2B5EF4-FFF2-40B4-BE49-F238E27FC236}">
                <a16:creationId xmlns:a16="http://schemas.microsoft.com/office/drawing/2014/main" id="{6D604DE9-64D1-D021-6413-C82DE029D8AA}"/>
              </a:ext>
            </a:extLst>
          </p:cNvPr>
          <p:cNvSpPr/>
          <p:nvPr/>
        </p:nvSpPr>
        <p:spPr bwMode="gray">
          <a:xfrm>
            <a:off x="4737100" y="3206340"/>
            <a:ext cx="6648813" cy="2986306"/>
          </a:xfrm>
          <a:prstGeom prst="round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 err="1">
              <a:solidFill>
                <a:schemeClr val="bg1"/>
              </a:solidFill>
            </a:endParaRPr>
          </a:p>
        </p:txBody>
      </p:sp>
      <p:pic>
        <p:nvPicPr>
          <p:cNvPr id="20" name="Immagine 19" descr="Immagine che contiene testo&#10;&#10;Descrizione generata automaticamente">
            <a:extLst>
              <a:ext uri="{FF2B5EF4-FFF2-40B4-BE49-F238E27FC236}">
                <a16:creationId xmlns:a16="http://schemas.microsoft.com/office/drawing/2014/main" id="{6EA3496B-6D6A-F06C-68B2-5B72C2BC130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491" y="3105528"/>
            <a:ext cx="3142713" cy="3203840"/>
          </a:xfrm>
          <a:prstGeom prst="rect">
            <a:avLst/>
          </a:prstGeom>
        </p:spPr>
      </p:pic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7BFD7161-ECC1-058D-FD2B-C59B6960001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607178" y="3209987"/>
            <a:ext cx="1008052" cy="996064"/>
          </a:xfrm>
          <a:prstGeom prst="ellipse">
            <a:avLst/>
          </a:prstGeom>
          <a:solidFill>
            <a:srgbClr val="00B050"/>
          </a:solidFill>
        </p:spPr>
        <p:txBody>
          <a:bodyPr vert="horz" lIns="90000" tIns="82800" rIns="90000" bIns="8280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Lidl Font Pro Semibold" panose="02000000000000000000" pitchFamily="2" charset="0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989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it-IT" sz="4000" b="1" dirty="0">
                <a:solidFill>
                  <a:schemeClr val="bg1"/>
                </a:solidFill>
                <a:latin typeface="Lidl Font Pro" panose="02000000000000000000" pitchFamily="2" charset="0"/>
              </a:rPr>
              <a:t>10</a:t>
            </a:r>
            <a:endParaRPr lang="it-IT" sz="4000" dirty="0">
              <a:solidFill>
                <a:schemeClr val="bg1"/>
              </a:solidFill>
              <a:latin typeface="Lidl Font Pr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93313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>
            <a:extLst>
              <a:ext uri="{FF2B5EF4-FFF2-40B4-BE49-F238E27FC236}">
                <a16:creationId xmlns:a16="http://schemas.microsoft.com/office/drawing/2014/main" id="{B8A0A866-B576-4696-8376-16FF25D807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1" name="Objekt 30" hidden="1">
                        <a:extLst>
                          <a:ext uri="{FF2B5EF4-FFF2-40B4-BE49-F238E27FC236}">
                            <a16:creationId xmlns:a16="http://schemas.microsoft.com/office/drawing/2014/main" id="{B8A0A866-B576-4696-8376-16FF25D807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28" hidden="1">
            <a:extLst>
              <a:ext uri="{FF2B5EF4-FFF2-40B4-BE49-F238E27FC236}">
                <a16:creationId xmlns:a16="http://schemas.microsoft.com/office/drawing/2014/main" id="{D3785CF5-5079-4BB9-8DBE-537D4B2FA877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b="1">
              <a:solidFill>
                <a:schemeClr val="bg1"/>
              </a:solidFill>
              <a:latin typeface="Lidl Font Pro" panose="02000000000000000000" pitchFamily="2" charset="0"/>
              <a:ea typeface="+mj-ea"/>
              <a:cs typeface="+mj-cs"/>
              <a:sym typeface="Lidl Font Pro" panose="02000000000000000000" pitchFamily="2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3DAD791-0982-477D-BB84-73B6FB989C1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it-IT" sz="900" dirty="0"/>
              <a:t>Gennaio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7768FC9-7925-4283-BC5A-F47085B35B4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 dirty="0"/>
              <a:t>Confcommercio provincia di Cremona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407E1CB-C1E5-4CE3-92D3-8286F8C7744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it-IT" smtClean="0"/>
              <a:pPr algn="r"/>
              <a:t>8</a:t>
            </a:fld>
            <a:endParaRPr lang="it-IT"/>
          </a:p>
        </p:txBody>
      </p:sp>
      <p:sp>
        <p:nvSpPr>
          <p:cNvPr id="30" name="Titel 13">
            <a:extLst>
              <a:ext uri="{FF2B5EF4-FFF2-40B4-BE49-F238E27FC236}">
                <a16:creationId xmlns:a16="http://schemas.microsoft.com/office/drawing/2014/main" id="{B12B48F5-2FC1-477F-873B-A482D11274B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7488857" cy="576000"/>
          </a:xfrm>
        </p:spPr>
        <p:txBody>
          <a:bodyPr vert="horz"/>
          <a:lstStyle/>
          <a:p>
            <a:r>
              <a:rPr lang="it-IT" dirty="0"/>
              <a:t>Perché associarsi a Confcommercio? </a:t>
            </a:r>
            <a:endParaRPr lang="it-IT" noProof="0" dirty="0"/>
          </a:p>
        </p:txBody>
      </p:sp>
      <p:graphicFrame>
        <p:nvGraphicFramePr>
          <p:cNvPr id="12" name="Diagramma 11">
            <a:extLst>
              <a:ext uri="{FF2B5EF4-FFF2-40B4-BE49-F238E27FC236}">
                <a16:creationId xmlns:a16="http://schemas.microsoft.com/office/drawing/2014/main" id="{EE6AE2AF-E640-9958-50AF-80D4A9460A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6590023"/>
              </p:ext>
            </p:extLst>
          </p:nvPr>
        </p:nvGraphicFramePr>
        <p:xfrm>
          <a:off x="491645" y="1373312"/>
          <a:ext cx="7568973" cy="5095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15" name="Immagine 14">
            <a:extLst>
              <a:ext uri="{FF2B5EF4-FFF2-40B4-BE49-F238E27FC236}">
                <a16:creationId xmlns:a16="http://schemas.microsoft.com/office/drawing/2014/main" id="{6530B272-50FD-2424-AB97-BC5BF3F6ADF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921578" y="0"/>
            <a:ext cx="3278091" cy="6858000"/>
          </a:xfrm>
          <a:prstGeom prst="rect">
            <a:avLst/>
          </a:prstGeom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4500992C-467B-23F5-A8E8-56495A64A98C}"/>
              </a:ext>
            </a:extLst>
          </p:cNvPr>
          <p:cNvSpPr/>
          <p:nvPr/>
        </p:nvSpPr>
        <p:spPr bwMode="gray">
          <a:xfrm>
            <a:off x="-979715" y="2917370"/>
            <a:ext cx="9677400" cy="355146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u="sng" dirty="0" err="1">
              <a:solidFill>
                <a:schemeClr val="bg1"/>
              </a:solidFill>
            </a:endParaRPr>
          </a:p>
        </p:txBody>
      </p:sp>
      <p:graphicFrame>
        <p:nvGraphicFramePr>
          <p:cNvPr id="9" name="Diagramma 8">
            <a:extLst>
              <a:ext uri="{FF2B5EF4-FFF2-40B4-BE49-F238E27FC236}">
                <a16:creationId xmlns:a16="http://schemas.microsoft.com/office/drawing/2014/main" id="{A7A3F20A-ABDC-E3F4-EF14-EE8821D530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51815481"/>
              </p:ext>
            </p:extLst>
          </p:nvPr>
        </p:nvGraphicFramePr>
        <p:xfrm>
          <a:off x="1631376" y="3020023"/>
          <a:ext cx="5337629" cy="32835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10" name="CasellaDiTesto 9">
            <a:extLst>
              <a:ext uri="{FF2B5EF4-FFF2-40B4-BE49-F238E27FC236}">
                <a16:creationId xmlns:a16="http://schemas.microsoft.com/office/drawing/2014/main" id="{C94B8FB4-DD8A-325D-AEDC-C3FCAFDB977B}"/>
              </a:ext>
            </a:extLst>
          </p:cNvPr>
          <p:cNvSpPr txBox="1"/>
          <p:nvPr/>
        </p:nvSpPr>
        <p:spPr bwMode="gray">
          <a:xfrm>
            <a:off x="2486112" y="5606672"/>
            <a:ext cx="3628156" cy="574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3000" dirty="0">
                <a:solidFill>
                  <a:schemeClr val="bg1"/>
                </a:solidFill>
              </a:rPr>
              <a:t>Nel 2023 95% GRATIS</a:t>
            </a:r>
          </a:p>
        </p:txBody>
      </p:sp>
    </p:spTree>
    <p:extLst>
      <p:ext uri="{BB962C8B-B14F-4D97-AF65-F5344CB8AC3E}">
        <p14:creationId xmlns:p14="http://schemas.microsoft.com/office/powerpoint/2010/main" val="29188467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>
            <a:extLst>
              <a:ext uri="{FF2B5EF4-FFF2-40B4-BE49-F238E27FC236}">
                <a16:creationId xmlns:a16="http://schemas.microsoft.com/office/drawing/2014/main" id="{B8A0A866-B576-4696-8376-16FF25D807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1" name="Objekt 30" hidden="1">
                        <a:extLst>
                          <a:ext uri="{FF2B5EF4-FFF2-40B4-BE49-F238E27FC236}">
                            <a16:creationId xmlns:a16="http://schemas.microsoft.com/office/drawing/2014/main" id="{B8A0A866-B576-4696-8376-16FF25D807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28" hidden="1">
            <a:extLst>
              <a:ext uri="{FF2B5EF4-FFF2-40B4-BE49-F238E27FC236}">
                <a16:creationId xmlns:a16="http://schemas.microsoft.com/office/drawing/2014/main" id="{D3785CF5-5079-4BB9-8DBE-537D4B2FA877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b="1">
              <a:solidFill>
                <a:schemeClr val="bg1"/>
              </a:solidFill>
              <a:latin typeface="Lidl Font Pro" panose="02000000000000000000" pitchFamily="2" charset="0"/>
              <a:ea typeface="+mj-ea"/>
              <a:cs typeface="+mj-cs"/>
              <a:sym typeface="Lidl Font Pro" panose="02000000000000000000" pitchFamily="2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3DAD791-0982-477D-BB84-73B6FB989C1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it-IT" sz="900" dirty="0"/>
              <a:t>Gennaio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7768FC9-7925-4283-BC5A-F47085B35B4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 dirty="0"/>
              <a:t>Confcommercio provincia di Cremona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407E1CB-C1E5-4CE3-92D3-8286F8C7744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it-IT" smtClean="0"/>
              <a:pPr algn="r"/>
              <a:t>9</a:t>
            </a:fld>
            <a:endParaRPr lang="it-IT"/>
          </a:p>
        </p:txBody>
      </p:sp>
      <p:sp>
        <p:nvSpPr>
          <p:cNvPr id="30" name="Titel 13">
            <a:extLst>
              <a:ext uri="{FF2B5EF4-FFF2-40B4-BE49-F238E27FC236}">
                <a16:creationId xmlns:a16="http://schemas.microsoft.com/office/drawing/2014/main" id="{B12B48F5-2FC1-477F-873B-A482D11274B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7488857" cy="576000"/>
          </a:xfrm>
        </p:spPr>
        <p:txBody>
          <a:bodyPr vert="horz"/>
          <a:lstStyle/>
          <a:p>
            <a:r>
              <a:rPr lang="it-IT" dirty="0"/>
              <a:t>Perché associarsi a Confcommercio? </a:t>
            </a:r>
            <a:endParaRPr lang="it-IT" noProof="0" dirty="0"/>
          </a:p>
        </p:txBody>
      </p:sp>
      <p:graphicFrame>
        <p:nvGraphicFramePr>
          <p:cNvPr id="12" name="Diagramma 11">
            <a:extLst>
              <a:ext uri="{FF2B5EF4-FFF2-40B4-BE49-F238E27FC236}">
                <a16:creationId xmlns:a16="http://schemas.microsoft.com/office/drawing/2014/main" id="{EE6AE2AF-E640-9958-50AF-80D4A9460A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1374461"/>
              </p:ext>
            </p:extLst>
          </p:nvPr>
        </p:nvGraphicFramePr>
        <p:xfrm>
          <a:off x="491645" y="1373312"/>
          <a:ext cx="7568973" cy="5095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15" name="Immagine 14">
            <a:extLst>
              <a:ext uri="{FF2B5EF4-FFF2-40B4-BE49-F238E27FC236}">
                <a16:creationId xmlns:a16="http://schemas.microsoft.com/office/drawing/2014/main" id="{6530B272-50FD-2424-AB97-BC5BF3F6ADF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921578" y="0"/>
            <a:ext cx="3278091" cy="6858000"/>
          </a:xfrm>
          <a:prstGeom prst="rect">
            <a:avLst/>
          </a:prstGeom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4500992C-467B-23F5-A8E8-56495A64A98C}"/>
              </a:ext>
            </a:extLst>
          </p:cNvPr>
          <p:cNvSpPr/>
          <p:nvPr/>
        </p:nvSpPr>
        <p:spPr bwMode="gray">
          <a:xfrm>
            <a:off x="-914400" y="2911310"/>
            <a:ext cx="9677400" cy="361405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u="sng" dirty="0" err="1">
              <a:solidFill>
                <a:schemeClr val="bg1"/>
              </a:solidFill>
            </a:endParaRPr>
          </a:p>
        </p:txBody>
      </p:sp>
      <p:pic>
        <p:nvPicPr>
          <p:cNvPr id="1026" name="Picture 2" descr="Nessuna descrizione della foto disponibile.">
            <a:extLst>
              <a:ext uri="{FF2B5EF4-FFF2-40B4-BE49-F238E27FC236}">
                <a16:creationId xmlns:a16="http://schemas.microsoft.com/office/drawing/2014/main" id="{7378A952-2621-A1E5-5CBC-B42AC107DD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892" y="3031277"/>
            <a:ext cx="3278091" cy="3278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2173BD82-2A69-CB92-7912-A8E83F161B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150" y="3429000"/>
            <a:ext cx="3696849" cy="934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DB4E5B5C-A4E6-449C-39E1-683BBC2D5C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8102" y="4550207"/>
            <a:ext cx="3721897" cy="934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79330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DO_REDO_REVISION" val="0"/>
  <p:tag name="DEFAULTLANGUAGEID" val="1031"/>
  <p:tag name="VCT_SHOW_CA" val="Fals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.6rAp3NnqIxy_Aw1ETc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.6rAp3NnqIxy_Aw1ETc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zoBmzpMMChMCuNcBgWw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Dul6eAyEjVveJQVQGi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Dul6eAyEjVveJQVQGi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Dul6eAyEjVveJQVQGi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Dul6eAyEjVveJQVQGi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Dul6eAyEjVveJQVQGi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Dul6eAyEjVveJQVQGi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Dul6eAyEjVveJQVQGi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Dul6eAyEjVveJQVQGi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Dul6eAyEjVveJQVQGi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Dul6eAyEjVveJQVQGi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5IMqUwDCcoS1032WV32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Dul6eAyEjVveJQVQGi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dl PPT Master">
  <a:themeElements>
    <a:clrScheme name="Lidl">
      <a:dk1>
        <a:srgbClr val="0050AA"/>
      </a:dk1>
      <a:lt1>
        <a:sysClr val="window" lastClr="FFFFFF"/>
      </a:lt1>
      <a:dk2>
        <a:srgbClr val="E60A14"/>
      </a:dk2>
      <a:lt2>
        <a:srgbClr val="FFF000"/>
      </a:lt2>
      <a:accent1>
        <a:srgbClr val="E4B900"/>
      </a:accent1>
      <a:accent2>
        <a:srgbClr val="CA144B"/>
      </a:accent2>
      <a:accent3>
        <a:srgbClr val="63AF89"/>
      </a:accent3>
      <a:accent4>
        <a:srgbClr val="3C83A2"/>
      </a:accent4>
      <a:accent5>
        <a:srgbClr val="D8671B"/>
      </a:accent5>
      <a:accent6>
        <a:srgbClr val="6F9D2D"/>
      </a:accent6>
      <a:hlink>
        <a:srgbClr val="0050AA"/>
      </a:hlink>
      <a:folHlink>
        <a:srgbClr val="0050AA"/>
      </a:folHlink>
    </a:clrScheme>
    <a:fontScheme name="Lidl">
      <a:majorFont>
        <a:latin typeface="Lidl Font Pro"/>
        <a:ea typeface=""/>
        <a:cs typeface=""/>
      </a:majorFont>
      <a:minorFont>
        <a:latin typeface="Lidl Fon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gradFill>
          <a:gsLst>
            <a:gs pos="0">
              <a:srgbClr val="006FB9"/>
            </a:gs>
            <a:gs pos="60000">
              <a:srgbClr val="0050AA"/>
            </a:gs>
            <a:gs pos="100000">
              <a:srgbClr val="003565"/>
            </a:gs>
          </a:gsLst>
          <a:lin ang="0" scaled="0"/>
        </a:gradFill>
        <a:ln w="6350">
          <a:noFill/>
        </a:ln>
      </a:spPr>
      <a:bodyPr rtlCol="0" anchor="ctr"/>
      <a:lstStyle>
        <a:defPPr algn="ctr">
          <a:defRPr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/>
    </a:txDef>
  </a:objectDefaults>
  <a:extraClrSchemeLst/>
  <a:custClrLst>
    <a:custClr name="Blau-Verlauf 1">
      <a:srgbClr val="003565"/>
    </a:custClr>
    <a:custClr name="Rot-Verlauf 1">
      <a:srgbClr val="730F05"/>
    </a:custClr>
    <a:custClr name="Gelb-Verlauf 1">
      <a:srgbClr val="FFA000"/>
    </a:custClr>
    <a:custClr>
      <a:srgbClr val="FFFFFF"/>
    </a:custClr>
    <a:custClr name="Diagrammfarbe 1 | 50%">
      <a:srgbClr val="F3DB96"/>
    </a:custClr>
    <a:custClr name="Diagrammfarbe 2 | 50%">
      <a:srgbClr val="E5979C"/>
    </a:custClr>
    <a:custClr name="Diagrammfarbe 3 | 50%">
      <a:srgbClr val="BBD7C4"/>
    </a:custClr>
    <a:custClr name="Diagrammfarbe 4 | 50%">
      <a:srgbClr val="A7BCCF"/>
    </a:custClr>
    <a:custClr name="Diagrammfarbe 5 | 50%">
      <a:srgbClr val="EDB689"/>
    </a:custClr>
    <a:custClr name="Diagrammfarbe 6 | 50%">
      <a:srgbClr val="BDCC95"/>
    </a:custClr>
    <a:custClr name="Blau-Verlauf 2">
      <a:srgbClr val="0050AA"/>
    </a:custClr>
    <a:custClr name="Rot-Verlauf 2">
      <a:srgbClr val="E60A14"/>
    </a:custClr>
    <a:custClr name="Gelb-Verlauf 2">
      <a:srgbClr val="FFF00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8A8197"/>
    </a:custClr>
    <a:custClr>
      <a:srgbClr val="000000"/>
    </a:custClr>
    <a:custClr name="Blau-Verlauf 3">
      <a:srgbClr val="006FB9"/>
    </a:custClr>
    <a:custClr name="Rot-Verlauf 3">
      <a:srgbClr val="E63C14"/>
    </a:custClr>
    <a:custClr name="Gelb-Verlauf 3">
      <a:srgbClr val="FFF05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Lidl_Update_Folienbibliothek.potx" id="{FE4A25DF-5687-4213-A1DA-E1BA10981612}" vid="{5DED7764-AF17-4E65-9BA6-B76BDB2E8896}"/>
    </a:ext>
  </a:extLst>
</a:theme>
</file>

<file path=ppt/theme/theme2.xml><?xml version="1.0" encoding="utf-8"?>
<a:theme xmlns:a="http://schemas.openxmlformats.org/drawingml/2006/main" name="Office">
  <a:themeElements>
    <a:clrScheme name="Lidl">
      <a:dk1>
        <a:srgbClr val="0050AA"/>
      </a:dk1>
      <a:lt1>
        <a:sysClr val="window" lastClr="FFFFFF"/>
      </a:lt1>
      <a:dk2>
        <a:srgbClr val="E60A14"/>
      </a:dk2>
      <a:lt2>
        <a:srgbClr val="FFF000"/>
      </a:lt2>
      <a:accent1>
        <a:srgbClr val="3E7D9A"/>
      </a:accent1>
      <a:accent2>
        <a:srgbClr val="DFAB00"/>
      </a:accent2>
      <a:accent3>
        <a:srgbClr val="8A8197"/>
      </a:accent3>
      <a:accent4>
        <a:srgbClr val="61AF88"/>
      </a:accent4>
      <a:accent5>
        <a:srgbClr val="D76687"/>
      </a:accent5>
      <a:accent6>
        <a:srgbClr val="EBE5D1"/>
      </a:accent6>
      <a:hlink>
        <a:srgbClr val="0050AA"/>
      </a:hlink>
      <a:folHlink>
        <a:srgbClr val="0050AA"/>
      </a:folHlink>
    </a:clrScheme>
    <a:fontScheme name="Lidl">
      <a:majorFont>
        <a:latin typeface="Lidl Font Pro Semibold"/>
        <a:ea typeface=""/>
        <a:cs typeface=""/>
      </a:majorFont>
      <a:minorFont>
        <a:latin typeface="Lidl Fon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Lidl">
      <a:dk1>
        <a:srgbClr val="0050AA"/>
      </a:dk1>
      <a:lt1>
        <a:sysClr val="window" lastClr="FFFFFF"/>
      </a:lt1>
      <a:dk2>
        <a:srgbClr val="E60A14"/>
      </a:dk2>
      <a:lt2>
        <a:srgbClr val="FFF000"/>
      </a:lt2>
      <a:accent1>
        <a:srgbClr val="3E7D9A"/>
      </a:accent1>
      <a:accent2>
        <a:srgbClr val="DFAB00"/>
      </a:accent2>
      <a:accent3>
        <a:srgbClr val="8A8197"/>
      </a:accent3>
      <a:accent4>
        <a:srgbClr val="61AF88"/>
      </a:accent4>
      <a:accent5>
        <a:srgbClr val="D76687"/>
      </a:accent5>
      <a:accent6>
        <a:srgbClr val="EBE5D1"/>
      </a:accent6>
      <a:hlink>
        <a:srgbClr val="0050AA"/>
      </a:hlink>
      <a:folHlink>
        <a:srgbClr val="0050AA"/>
      </a:folHlink>
    </a:clrScheme>
    <a:fontScheme name="Lidl">
      <a:majorFont>
        <a:latin typeface="Lidl Font Pro Semibold"/>
        <a:ea typeface=""/>
        <a:cs typeface=""/>
      </a:majorFont>
      <a:minorFont>
        <a:latin typeface="Lidl Fon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EB0E77CE5F04A4BB1173B9DFEDAB13C" ma:contentTypeVersion="1" ma:contentTypeDescription="Creare un nuovo documento." ma:contentTypeScope="" ma:versionID="7afe09826962a942a43347a79e64560b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4bfbe566d69c448939813c4e45748414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Data inizio pianificazione" ma:description="Data inizio pianificazione è una colonna del sito creata dalla funzionalità Pianificazione e usata per specificare la data e l'ora in cui la pagina apparirà per la prima volta ai visitatori del sito." ma:hidden="true" ma:internalName="PublishingStartDate">
      <xsd:simpleType>
        <xsd:restriction base="dms:Unknown"/>
      </xsd:simpleType>
    </xsd:element>
    <xsd:element name="PublishingExpirationDate" ma:index="9" nillable="true" ma:displayName="Data fine pianificazione" ma:description="Data fine pianificazione è una colonna del sito creata dalla funzionalità Pubblicazione e usata per specificare la data e l'ora in cui la pagina non apparirà più ai visitatori del sito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C75803D2-A3EA-4EA4-9C71-A37262200CAE}">
  <ds:schemaRefs>
    <ds:schemaRef ds:uri="http://schemas.microsoft.com/office/2006/metadata/contentType"/>
    <ds:schemaRef ds:uri="http://schemas.microsoft.com/office/2006/metadata/properties/metaAttributes"/>
    <ds:schemaRef ds:uri="http://schemas.microsoft.com/sharepoint/v3"/>
    <ds:schemaRef ds:uri="http://www.w3.org/2000/xmlns/"/>
    <ds:schemaRef ds:uri="http://www.w3.org/2001/XMLSchema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1E20221-13A7-4721-A09B-C11BA38106B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F3BD10E-A445-4B79-8425-7E6BC305B712}">
  <ds:schemaRefs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purl.org/dc/terms/"/>
    <ds:schemaRef ds:uri="http://schemas.microsoft.com/sharepoint/v3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61</TotalTime>
  <Words>618</Words>
  <Application>Microsoft Office PowerPoint</Application>
  <PresentationFormat>Widescreen</PresentationFormat>
  <Paragraphs>171</Paragraphs>
  <Slides>16</Slides>
  <Notes>16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6</vt:i4>
      </vt:variant>
    </vt:vector>
  </HeadingPairs>
  <TitlesOfParts>
    <vt:vector size="23" baseType="lpstr">
      <vt:lpstr>Arial</vt:lpstr>
      <vt:lpstr>Century Gothic</vt:lpstr>
      <vt:lpstr>Lidl Font Pro</vt:lpstr>
      <vt:lpstr>Open Sans</vt:lpstr>
      <vt:lpstr>Open Sans Bold</vt:lpstr>
      <vt:lpstr>Lidl PPT Master</vt:lpstr>
      <vt:lpstr>think-cell Folie</vt:lpstr>
      <vt:lpstr>Presentazione standard di PowerPoint</vt:lpstr>
      <vt:lpstr>Qualche informazione su di noi...</vt:lpstr>
      <vt:lpstr>Confcommercio Provincia di Cremona dal 1947</vt:lpstr>
      <vt:lpstr>Perché associarsi a Confcommercio? </vt:lpstr>
      <vt:lpstr>Perché associarsi a Confcommercio? </vt:lpstr>
      <vt:lpstr>Perché associarsi a Confcommercio? </vt:lpstr>
      <vt:lpstr>Perché associarsi a Confcommercio? </vt:lpstr>
      <vt:lpstr>Perché associarsi a Confcommercio? </vt:lpstr>
      <vt:lpstr>Perché associarsi a Confcommercio? </vt:lpstr>
      <vt:lpstr>Perché associarsi a Confcommercio? </vt:lpstr>
      <vt:lpstr>Perché associarsi a Confcommercio? </vt:lpstr>
      <vt:lpstr>Perché associarsi a Confcommercio? </vt:lpstr>
      <vt:lpstr>Perché associarsi a Confcommercio? </vt:lpstr>
      <vt:lpstr>Offerta servizi/consulenze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iovanni.colca@lidl.it</dc:creator>
  <dc:description>Optimiert für Office 2016</dc:description>
  <cp:lastModifiedBy>Stefano Anceschi</cp:lastModifiedBy>
  <cp:revision>6</cp:revision>
  <dcterms:created xsi:type="dcterms:W3CDTF">2018-05-24T12:40:13Z</dcterms:created>
  <dcterms:modified xsi:type="dcterms:W3CDTF">2024-02-21T16:28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EB0E77CE5F04A4BB1173B9DFEDAB13C</vt:lpwstr>
  </property>
</Properties>
</file>